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Ex1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charts/chartEx2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charts/chartEx3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charts/chartEx4.xml" ContentType="application/vnd.ms-office.chartex+xml"/>
  <Override PartName="/ppt/charts/style7.xml" ContentType="application/vnd.ms-office.chartstyle+xml"/>
  <Override PartName="/ppt/charts/colors7.xml" ContentType="application/vnd.ms-office.chartcolorstyle+xml"/>
  <Override PartName="/ppt/charts/chartEx5.xml" ContentType="application/vnd.ms-office.chartex+xml"/>
  <Override PartName="/ppt/charts/style8.xml" ContentType="application/vnd.ms-office.chartstyle+xml"/>
  <Override PartName="/ppt/charts/colors8.xml" ContentType="application/vnd.ms-office.chartcolorstyle+xml"/>
  <Override PartName="/ppt/charts/chartEx6.xml" ContentType="application/vnd.ms-office.chartex+xml"/>
  <Override PartName="/ppt/charts/style9.xml" ContentType="application/vnd.ms-office.chartstyle+xml"/>
  <Override PartName="/ppt/charts/colors9.xml" ContentType="application/vnd.ms-office.chartcolorstyle+xml"/>
  <Override PartName="/ppt/charts/chartEx7.xml" ContentType="application/vnd.ms-office.chartex+xml"/>
  <Override PartName="/ppt/charts/style10.xml" ContentType="application/vnd.ms-office.chartstyle+xml"/>
  <Override PartName="/ppt/charts/colors10.xml" ContentType="application/vnd.ms-office.chartcolorstyle+xml"/>
  <Override PartName="/ppt/charts/chartEx8.xml" ContentType="application/vnd.ms-office.chartex+xml"/>
  <Override PartName="/ppt/charts/style11.xml" ContentType="application/vnd.ms-office.chartstyle+xml"/>
  <Override PartName="/ppt/charts/colors11.xml" ContentType="application/vnd.ms-office.chartcolorstyle+xml"/>
  <Override PartName="/ppt/charts/chartEx9.xml" ContentType="application/vnd.ms-office.chartex+xml"/>
  <Override PartName="/ppt/charts/style12.xml" ContentType="application/vnd.ms-office.chartstyle+xml"/>
  <Override PartName="/ppt/charts/colors12.xml" ContentType="application/vnd.ms-office.chartcolorstyle+xml"/>
  <Override PartName="/ppt/charts/chartEx10.xml" ContentType="application/vnd.ms-office.chartex+xml"/>
  <Override PartName="/ppt/charts/style13.xml" ContentType="application/vnd.ms-office.chartstyle+xml"/>
  <Override PartName="/ppt/charts/colors13.xml" ContentType="application/vnd.ms-office.chartcolorstyle+xml"/>
  <Override PartName="/ppt/charts/chartEx11.xml" ContentType="application/vnd.ms-office.chartex+xml"/>
  <Override PartName="/ppt/charts/style14.xml" ContentType="application/vnd.ms-office.chartstyle+xml"/>
  <Override PartName="/ppt/charts/colors14.xml" ContentType="application/vnd.ms-office.chartcolorstyle+xml"/>
  <Override PartName="/ppt/charts/chartEx12.xml" ContentType="application/vnd.ms-office.chartex+xml"/>
  <Override PartName="/ppt/charts/style15.xml" ContentType="application/vnd.ms-office.chartstyle+xml"/>
  <Override PartName="/ppt/charts/colors15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60" r:id="rId2"/>
    <p:sldId id="266" r:id="rId3"/>
    <p:sldId id="272" r:id="rId4"/>
    <p:sldId id="271" r:id="rId5"/>
    <p:sldId id="273" r:id="rId6"/>
    <p:sldId id="278" r:id="rId7"/>
    <p:sldId id="261" r:id="rId8"/>
    <p:sldId id="264" r:id="rId9"/>
    <p:sldId id="283" r:id="rId10"/>
    <p:sldId id="275" r:id="rId11"/>
    <p:sldId id="279" r:id="rId12"/>
    <p:sldId id="281" r:id="rId13"/>
    <p:sldId id="282" r:id="rId14"/>
    <p:sldId id="280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147"/>
    <a:srgbClr val="EFC3AF"/>
    <a:srgbClr val="FFF0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3841250-40AE-33CB-E183-8AEA66020DCA}" v="4" dt="2024-11-20T16:32:11.594"/>
    <p1510:client id="{45EC17DD-6A9E-134B-7637-9AA583407281}" v="261" dt="2024-11-20T19:21:07.034"/>
    <p1510:client id="{50FEE7C6-C750-47A3-BD0F-211F1B0ADAAF}" v="18441" dt="2024-11-21T10:36:24.907"/>
    <p1510:client id="{E5E46110-B667-4E78-A35A-CC3AFDB851F9}" v="9466" dt="2024-11-21T10:22:48.617"/>
    <p1510:client id="{F552DC47-7D43-4AE7-A3A9-22D25CF4D3CD}" v="39" dt="2024-11-21T11:06:51.8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86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est User" providerId="Windows Live" clId="Web-{45EC17DD-6A9E-134B-7637-9AA583407281}"/>
    <pc:docChg chg="addSld delSld modSld sldOrd">
      <pc:chgData name="Guest User" userId="" providerId="Windows Live" clId="Web-{45EC17DD-6A9E-134B-7637-9AA583407281}" dt="2024-11-20T19:21:07.034" v="141"/>
      <pc:docMkLst>
        <pc:docMk/>
      </pc:docMkLst>
      <pc:sldChg chg="modSp">
        <pc:chgData name="Guest User" userId="" providerId="Windows Live" clId="Web-{45EC17DD-6A9E-134B-7637-9AA583407281}" dt="2024-11-20T19:19:13.980" v="136" actId="1076"/>
        <pc:sldMkLst>
          <pc:docMk/>
          <pc:sldMk cId="1820089965" sldId="264"/>
        </pc:sldMkLst>
        <pc:spChg chg="mod">
          <ac:chgData name="Guest User" userId="" providerId="Windows Live" clId="Web-{45EC17DD-6A9E-134B-7637-9AA583407281}" dt="2024-11-20T19:19:13.980" v="136" actId="1076"/>
          <ac:spMkLst>
            <pc:docMk/>
            <pc:sldMk cId="1820089965" sldId="264"/>
            <ac:spMk id="6" creationId="{4CEAAB54-20D9-AAD2-4E91-75875D231121}"/>
          </ac:spMkLst>
        </pc:spChg>
      </pc:sldChg>
      <pc:sldChg chg="modSp">
        <pc:chgData name="Guest User" userId="" providerId="Windows Live" clId="Web-{45EC17DD-6A9E-134B-7637-9AA583407281}" dt="2024-11-20T19:18:21.426" v="135" actId="14100"/>
        <pc:sldMkLst>
          <pc:docMk/>
          <pc:sldMk cId="2538419880" sldId="266"/>
        </pc:sldMkLst>
        <pc:spChg chg="mod">
          <ac:chgData name="Guest User" userId="" providerId="Windows Live" clId="Web-{45EC17DD-6A9E-134B-7637-9AA583407281}" dt="2024-11-20T19:18:21.426" v="135" actId="14100"/>
          <ac:spMkLst>
            <pc:docMk/>
            <pc:sldMk cId="2538419880" sldId="266"/>
            <ac:spMk id="19" creationId="{6B55FE36-67E1-D27F-531C-4D37D91345DD}"/>
          </ac:spMkLst>
        </pc:spChg>
        <pc:picChg chg="mod">
          <ac:chgData name="Guest User" userId="" providerId="Windows Live" clId="Web-{45EC17DD-6A9E-134B-7637-9AA583407281}" dt="2024-11-20T19:18:07.394" v="133" actId="1076"/>
          <ac:picMkLst>
            <pc:docMk/>
            <pc:sldMk cId="2538419880" sldId="266"/>
            <ac:picMk id="3" creationId="{053D680D-4BA0-0A57-98F0-929C7BCBB5A3}"/>
          </ac:picMkLst>
        </pc:picChg>
      </pc:sldChg>
      <pc:sldChg chg="addSp delSp modSp add ord">
        <pc:chgData name="Guest User" userId="" providerId="Windows Live" clId="Web-{45EC17DD-6A9E-134B-7637-9AA583407281}" dt="2024-11-20T19:21:07.034" v="141"/>
        <pc:sldMkLst>
          <pc:docMk/>
          <pc:sldMk cId="1708707165" sldId="273"/>
        </pc:sldMkLst>
        <pc:spChg chg="mod">
          <ac:chgData name="Guest User" userId="" providerId="Windows Live" clId="Web-{45EC17DD-6A9E-134B-7637-9AA583407281}" dt="2024-11-20T19:10:14.221" v="33" actId="20577"/>
          <ac:spMkLst>
            <pc:docMk/>
            <pc:sldMk cId="1708707165" sldId="273"/>
            <ac:spMk id="2" creationId="{56B4DFA4-7B3E-B2C3-2E0F-5E06FC14B1D6}"/>
          </ac:spMkLst>
        </pc:spChg>
        <pc:spChg chg="add mod">
          <ac:chgData name="Guest User" userId="" providerId="Windows Live" clId="Web-{45EC17DD-6A9E-134B-7637-9AA583407281}" dt="2024-11-20T19:20:02.999" v="140" actId="20577"/>
          <ac:spMkLst>
            <pc:docMk/>
            <pc:sldMk cId="1708707165" sldId="273"/>
            <ac:spMk id="4" creationId="{56628B15-FB18-1D91-6FEF-54BC5DF317B1}"/>
          </ac:spMkLst>
        </pc:spChg>
        <pc:spChg chg="add">
          <ac:chgData name="Guest User" userId="" providerId="Windows Live" clId="Web-{45EC17DD-6A9E-134B-7637-9AA583407281}" dt="2024-11-20T19:19:35.684" v="137"/>
          <ac:spMkLst>
            <pc:docMk/>
            <pc:sldMk cId="1708707165" sldId="273"/>
            <ac:spMk id="11" creationId="{196C2009-7537-73A3-5285-F483A1B1C2FA}"/>
          </ac:spMkLst>
        </pc:spChg>
        <pc:spChg chg="mod">
          <ac:chgData name="Guest User" userId="" providerId="Windows Live" clId="Web-{45EC17DD-6A9E-134B-7637-9AA583407281}" dt="2024-11-20T19:16:46.763" v="130" actId="20577"/>
          <ac:spMkLst>
            <pc:docMk/>
            <pc:sldMk cId="1708707165" sldId="273"/>
            <ac:spMk id="1166" creationId="{F98EC4F0-FA1E-695D-24BD-E549A1229374}"/>
          </ac:spMkLst>
        </pc:spChg>
        <pc:picChg chg="add">
          <ac:chgData name="Guest User" userId="" providerId="Windows Live" clId="Web-{45EC17DD-6A9E-134B-7637-9AA583407281}" dt="2024-11-20T19:19:35.731" v="138"/>
          <ac:picMkLst>
            <pc:docMk/>
            <pc:sldMk cId="1708707165" sldId="273"/>
            <ac:picMk id="17" creationId="{83C34109-1DDF-E8CE-CED9-AA75C5F5ACBE}"/>
          </ac:picMkLst>
        </pc:picChg>
        <pc:picChg chg="del">
          <ac:chgData name="Guest User" userId="" providerId="Windows Live" clId="Web-{45EC17DD-6A9E-134B-7637-9AA583407281}" dt="2024-11-20T19:21:07.034" v="141"/>
          <ac:picMkLst>
            <pc:docMk/>
            <pc:sldMk cId="1708707165" sldId="273"/>
            <ac:picMk id="1036" creationId="{B486801D-F8F1-F7E6-F4FA-0A893DA90106}"/>
          </ac:picMkLst>
        </pc:picChg>
        <pc:cxnChg chg="mod">
          <ac:chgData name="Guest User" userId="" providerId="Windows Live" clId="Web-{45EC17DD-6A9E-134B-7637-9AA583407281}" dt="2024-11-20T19:17:01.811" v="131"/>
          <ac:cxnSpMkLst>
            <pc:docMk/>
            <pc:sldMk cId="1708707165" sldId="273"/>
            <ac:cxnSpMk id="1175" creationId="{94581404-C5FA-C296-3A6F-CA1F2C301B5A}"/>
          </ac:cxnSpMkLst>
        </pc:cxnChg>
      </pc:sldChg>
      <pc:sldChg chg="del">
        <pc:chgData name="Guest User" userId="" providerId="Windows Live" clId="Web-{45EC17DD-6A9E-134B-7637-9AA583407281}" dt="2024-11-20T19:09:41.625" v="5"/>
        <pc:sldMkLst>
          <pc:docMk/>
          <pc:sldMk cId="1708707165" sldId="277"/>
        </pc:sldMkLst>
      </pc:sldChg>
      <pc:sldChg chg="new">
        <pc:chgData name="Guest User" userId="" providerId="Windows Live" clId="Web-{45EC17DD-6A9E-134B-7637-9AA583407281}" dt="2024-11-20T19:07:48.242" v="0"/>
        <pc:sldMkLst>
          <pc:docMk/>
          <pc:sldMk cId="2790232508" sldId="280"/>
        </pc:sldMkLst>
      </pc:sldChg>
      <pc:sldChg chg="new del">
        <pc:chgData name="Guest User" userId="" providerId="Windows Live" clId="Web-{45EC17DD-6A9E-134B-7637-9AA583407281}" dt="2024-11-20T19:08:18.728" v="3"/>
        <pc:sldMkLst>
          <pc:docMk/>
          <pc:sldMk cId="3302958114" sldId="281"/>
        </pc:sldMkLst>
      </pc:sldChg>
    </pc:docChg>
  </pc:docChgLst>
  <pc:docChgLst>
    <pc:chgData name="Guest User" providerId="Windows Live" clId="Web-{23841250-40AE-33CB-E183-8AEA66020DCA}"/>
    <pc:docChg chg="addSld modSld">
      <pc:chgData name="Guest User" userId="" providerId="Windows Live" clId="Web-{23841250-40AE-33CB-E183-8AEA66020DCA}" dt="2024-11-20T16:32:11.594" v="3" actId="1076"/>
      <pc:docMkLst>
        <pc:docMk/>
      </pc:docMkLst>
      <pc:sldChg chg="addSp modSp new mod setBg">
        <pc:chgData name="Guest User" userId="" providerId="Windows Live" clId="Web-{23841250-40AE-33CB-E183-8AEA66020DCA}" dt="2024-11-20T16:32:11.594" v="3" actId="1076"/>
        <pc:sldMkLst>
          <pc:docMk/>
          <pc:sldMk cId="9092167" sldId="279"/>
        </pc:sldMkLst>
        <pc:picChg chg="add mod">
          <ac:chgData name="Guest User" userId="" providerId="Windows Live" clId="Web-{23841250-40AE-33CB-E183-8AEA66020DCA}" dt="2024-11-20T16:32:11.594" v="3" actId="1076"/>
          <ac:picMkLst>
            <pc:docMk/>
            <pc:sldMk cId="9092167" sldId="279"/>
            <ac:picMk id="2" creationId="{3ADB30DB-0450-7104-C858-6D91662E90A3}"/>
          </ac:picMkLst>
        </pc:picChg>
      </pc:sldChg>
    </pc:docChg>
  </pc:docChgLst>
  <pc:docChgLst>
    <pc:chgData name="Guest User" providerId="Windows Live" clId="Web-{58B7402E-BDA9-048B-1082-2FD55835C32E}"/>
    <pc:docChg chg="modSld">
      <pc:chgData name="Guest User" userId="" providerId="Windows Live" clId="Web-{58B7402E-BDA9-048B-1082-2FD55835C32E}" dt="2024-11-20T04:50:21.203" v="27" actId="1076"/>
      <pc:docMkLst>
        <pc:docMk/>
      </pc:docMkLst>
      <pc:sldChg chg="addSp modSp">
        <pc:chgData name="Guest User" userId="" providerId="Windows Live" clId="Web-{58B7402E-BDA9-048B-1082-2FD55835C32E}" dt="2024-11-20T04:50:21.203" v="27" actId="1076"/>
        <pc:sldMkLst>
          <pc:docMk/>
          <pc:sldMk cId="2538419880" sldId="266"/>
        </pc:sldMkLst>
        <pc:spChg chg="add mod">
          <ac:chgData name="Guest User" userId="" providerId="Windows Live" clId="Web-{58B7402E-BDA9-048B-1082-2FD55835C32E}" dt="2024-11-20T04:49:47.625" v="26" actId="1076"/>
          <ac:spMkLst>
            <pc:docMk/>
            <pc:sldMk cId="2538419880" sldId="266"/>
            <ac:spMk id="2" creationId="{F4FC770C-DC0D-E2D3-64DA-FE7B868923AF}"/>
          </ac:spMkLst>
        </pc:spChg>
        <pc:picChg chg="mod">
          <ac:chgData name="Guest User" userId="" providerId="Windows Live" clId="Web-{58B7402E-BDA9-048B-1082-2FD55835C32E}" dt="2024-11-20T04:50:21.203" v="27" actId="1076"/>
          <ac:picMkLst>
            <pc:docMk/>
            <pc:sldMk cId="2538419880" sldId="266"/>
            <ac:picMk id="3" creationId="{053D680D-4BA0-0A57-98F0-929C7BCBB5A3}"/>
          </ac:picMkLst>
        </pc:picChg>
      </pc:sldChg>
    </pc:docChg>
  </pc:docChgLst>
  <pc:docChgLst>
    <pc:chgData name="Guest User" providerId="Windows Live" clId="Web-{EC6DEC0E-FC0E-54CF-7125-B20BA2E4E695}"/>
    <pc:docChg chg="modSld">
      <pc:chgData name="Guest User" userId="" providerId="Windows Live" clId="Web-{EC6DEC0E-FC0E-54CF-7125-B20BA2E4E695}" dt="2024-11-19T20:12:31.724" v="2"/>
      <pc:docMkLst>
        <pc:docMk/>
      </pc:docMkLst>
      <pc:sldChg chg="modSp">
        <pc:chgData name="Guest User" userId="" providerId="Windows Live" clId="Web-{EC6DEC0E-FC0E-54CF-7125-B20BA2E4E695}" dt="2024-11-19T20:11:04.453" v="0" actId="1076"/>
        <pc:sldMkLst>
          <pc:docMk/>
          <pc:sldMk cId="3888688317" sldId="265"/>
        </pc:sldMkLst>
      </pc:sldChg>
      <pc:sldChg chg="modSp">
        <pc:chgData name="Guest User" userId="" providerId="Windows Live" clId="Web-{EC6DEC0E-FC0E-54CF-7125-B20BA2E4E695}" dt="2024-11-19T20:12:31.724" v="2"/>
        <pc:sldMkLst>
          <pc:docMk/>
          <pc:sldMk cId="2538419880" sldId="266"/>
        </pc:sldMkLst>
      </pc:sldChg>
    </pc:docChg>
  </pc:docChgLst>
  <pc:docChgLst>
    <pc:chgData name="Guest User" providerId="Windows Live" clId="Web-{5CA6D8A7-1156-3067-5882-891679BC96DF}"/>
    <pc:docChg chg="modSld">
      <pc:chgData name="Guest User" userId="" providerId="Windows Live" clId="Web-{5CA6D8A7-1156-3067-5882-891679BC96DF}" dt="2024-11-19T17:14:21.284" v="1" actId="20577"/>
      <pc:docMkLst>
        <pc:docMk/>
      </pc:docMkLst>
      <pc:sldChg chg="modSp">
        <pc:chgData name="Guest User" userId="" providerId="Windows Live" clId="Web-{5CA6D8A7-1156-3067-5882-891679BC96DF}" dt="2024-11-19T17:14:21.284" v="1" actId="20577"/>
        <pc:sldMkLst>
          <pc:docMk/>
          <pc:sldMk cId="726225029" sldId="272"/>
        </pc:sldMkLst>
        <pc:spChg chg="mod">
          <ac:chgData name="Guest User" userId="" providerId="Windows Live" clId="Web-{5CA6D8A7-1156-3067-5882-891679BC96DF}" dt="2024-11-19T17:14:21.284" v="1" actId="20577"/>
          <ac:spMkLst>
            <pc:docMk/>
            <pc:sldMk cId="726225029" sldId="272"/>
            <ac:spMk id="145" creationId="{EE4CAABF-EE46-58E3-DB80-8C0DEAD632A8}"/>
          </ac:spMkLst>
        </pc:spChg>
      </pc:sldChg>
    </pc:docChg>
  </pc:docChgLst>
  <pc:docChgLst>
    <pc:chgData name="yashbhardwaj2992006@gmail.com" userId="6f3f7729cccf7c9e" providerId="LiveId" clId="{317B87F3-15E8-734A-B61D-F4EDF02D557F}"/>
    <pc:docChg chg="delSld modSld">
      <pc:chgData name="yashbhardwaj2992006@gmail.com" userId="6f3f7729cccf7c9e" providerId="LiveId" clId="{317B87F3-15E8-734A-B61D-F4EDF02D557F}" dt="2024-11-21T14:53:00.067" v="13" actId="2696"/>
      <pc:docMkLst>
        <pc:docMk/>
      </pc:docMkLst>
      <pc:sldChg chg="modSp">
        <pc:chgData name="yashbhardwaj2992006@gmail.com" userId="6f3f7729cccf7c9e" providerId="LiveId" clId="{317B87F3-15E8-734A-B61D-F4EDF02D557F}" dt="2024-11-20T08:02:25.687" v="12" actId="20577"/>
        <pc:sldMkLst>
          <pc:docMk/>
          <pc:sldMk cId="726225029" sldId="272"/>
        </pc:sldMkLst>
        <pc:spChg chg="mod">
          <ac:chgData name="yashbhardwaj2992006@gmail.com" userId="6f3f7729cccf7c9e" providerId="LiveId" clId="{317B87F3-15E8-734A-B61D-F4EDF02D557F}" dt="2024-11-20T08:02:25.687" v="12" actId="20577"/>
          <ac:spMkLst>
            <pc:docMk/>
            <pc:sldMk cId="726225029" sldId="272"/>
            <ac:spMk id="5" creationId="{AEAD09E9-B408-289C-F8A9-616C5F16FC09}"/>
          </ac:spMkLst>
        </pc:spChg>
        <pc:spChg chg="mod">
          <ac:chgData name="yashbhardwaj2992006@gmail.com" userId="6f3f7729cccf7c9e" providerId="LiveId" clId="{317B87F3-15E8-734A-B61D-F4EDF02D557F}" dt="2024-11-20T04:18:26.182" v="5" actId="1076"/>
          <ac:spMkLst>
            <pc:docMk/>
            <pc:sldMk cId="726225029" sldId="272"/>
            <ac:spMk id="19" creationId="{0A280AAF-3CE2-EF0C-999E-DEF3FE8B1026}"/>
          </ac:spMkLst>
        </pc:spChg>
      </pc:sldChg>
      <pc:sldChg chg="del">
        <pc:chgData name="yashbhardwaj2992006@gmail.com" userId="6f3f7729cccf7c9e" providerId="LiveId" clId="{317B87F3-15E8-734A-B61D-F4EDF02D557F}" dt="2024-11-21T14:53:00.067" v="13" actId="2696"/>
        <pc:sldMkLst>
          <pc:docMk/>
          <pc:sldMk cId="945615311" sldId="284"/>
        </pc:sldMkLst>
      </pc:sldChg>
    </pc:docChg>
  </pc:docChgLst>
  <pc:docChgLst>
    <pc:chgData name="vidit garg" userId="8ae30a01eec24d4b" providerId="LiveId" clId="{50FEE7C6-C750-47A3-BD0F-211F1B0ADAAF}"/>
    <pc:docChg chg="undo redo custSel addSld delSld modSld sldOrd">
      <pc:chgData name="vidit garg" userId="8ae30a01eec24d4b" providerId="LiveId" clId="{50FEE7C6-C750-47A3-BD0F-211F1B0ADAAF}" dt="2024-11-21T10:36:24.907" v="24370" actId="478"/>
      <pc:docMkLst>
        <pc:docMk/>
      </pc:docMkLst>
      <pc:sldChg chg="del">
        <pc:chgData name="vidit garg" userId="8ae30a01eec24d4b" providerId="LiveId" clId="{50FEE7C6-C750-47A3-BD0F-211F1B0ADAAF}" dt="2024-11-20T18:30:13.250" v="22722" actId="47"/>
        <pc:sldMkLst>
          <pc:docMk/>
          <pc:sldMk cId="2724119592" sldId="256"/>
        </pc:sldMkLst>
      </pc:sldChg>
      <pc:sldChg chg="del ord">
        <pc:chgData name="vidit garg" userId="8ae30a01eec24d4b" providerId="LiveId" clId="{50FEE7C6-C750-47A3-BD0F-211F1B0ADAAF}" dt="2024-11-21T04:41:13.222" v="23088" actId="47"/>
        <pc:sldMkLst>
          <pc:docMk/>
          <pc:sldMk cId="1538007991" sldId="257"/>
        </pc:sldMkLst>
      </pc:sldChg>
      <pc:sldChg chg="addSp delSp modSp add mod">
        <pc:chgData name="vidit garg" userId="8ae30a01eec24d4b" providerId="LiveId" clId="{50FEE7C6-C750-47A3-BD0F-211F1B0ADAAF}" dt="2024-11-20T19:12:32.021" v="22901" actId="207"/>
        <pc:sldMkLst>
          <pc:docMk/>
          <pc:sldMk cId="4053821207" sldId="260"/>
        </pc:sldMkLst>
        <pc:spChg chg="add mod">
          <ac:chgData name="vidit garg" userId="8ae30a01eec24d4b" providerId="LiveId" clId="{50FEE7C6-C750-47A3-BD0F-211F1B0ADAAF}" dt="2024-11-20T19:12:32.021" v="22901" actId="207"/>
          <ac:spMkLst>
            <pc:docMk/>
            <pc:sldMk cId="4053821207" sldId="260"/>
            <ac:spMk id="11" creationId="{9044E037-A393-50A6-ACF8-BC809ECE2CD7}"/>
          </ac:spMkLst>
        </pc:spChg>
        <pc:picChg chg="del mod">
          <ac:chgData name="vidit garg" userId="8ae30a01eec24d4b" providerId="LiveId" clId="{50FEE7C6-C750-47A3-BD0F-211F1B0ADAAF}" dt="2024-11-20T18:31:54.961" v="22726" actId="478"/>
          <ac:picMkLst>
            <pc:docMk/>
            <pc:sldMk cId="4053821207" sldId="260"/>
            <ac:picMk id="3" creationId="{5A76EB5C-C73B-2D56-BE46-706E45E2F2D6}"/>
          </ac:picMkLst>
        </pc:picChg>
        <pc:picChg chg="add mod">
          <ac:chgData name="vidit garg" userId="8ae30a01eec24d4b" providerId="LiveId" clId="{50FEE7C6-C750-47A3-BD0F-211F1B0ADAAF}" dt="2024-11-20T18:43:08.630" v="22727" actId="931"/>
          <ac:picMkLst>
            <pc:docMk/>
            <pc:sldMk cId="4053821207" sldId="260"/>
            <ac:picMk id="4" creationId="{359566ED-45A1-6DE3-1BE0-AF4921CF5127}"/>
          </ac:picMkLst>
        </pc:picChg>
        <pc:picChg chg="add mod">
          <ac:chgData name="vidit garg" userId="8ae30a01eec24d4b" providerId="LiveId" clId="{50FEE7C6-C750-47A3-BD0F-211F1B0ADAAF}" dt="2024-11-20T18:46:27.672" v="22728" actId="931"/>
          <ac:picMkLst>
            <pc:docMk/>
            <pc:sldMk cId="4053821207" sldId="260"/>
            <ac:picMk id="6" creationId="{FE6ACC48-8C59-CBDA-9509-DC32C333C2DB}"/>
          </ac:picMkLst>
        </pc:picChg>
        <pc:picChg chg="add mod">
          <ac:chgData name="vidit garg" userId="8ae30a01eec24d4b" providerId="LiveId" clId="{50FEE7C6-C750-47A3-BD0F-211F1B0ADAAF}" dt="2024-11-20T18:46:39.344" v="22729"/>
          <ac:picMkLst>
            <pc:docMk/>
            <pc:sldMk cId="4053821207" sldId="260"/>
            <ac:picMk id="7" creationId="{8F54EBF1-E37F-408E-864F-D93E04BFB6F9}"/>
          </ac:picMkLst>
        </pc:picChg>
        <pc:picChg chg="add mod">
          <ac:chgData name="vidit garg" userId="8ae30a01eec24d4b" providerId="LiveId" clId="{50FEE7C6-C750-47A3-BD0F-211F1B0ADAAF}" dt="2024-11-20T18:58:04.639" v="22779" actId="931"/>
          <ac:picMkLst>
            <pc:docMk/>
            <pc:sldMk cId="4053821207" sldId="260"/>
            <ac:picMk id="9" creationId="{C972D06B-D7A1-82CE-1476-63E524AFB2F3}"/>
          </ac:picMkLst>
        </pc:picChg>
        <pc:picChg chg="add mod">
          <ac:chgData name="vidit garg" userId="8ae30a01eec24d4b" providerId="LiveId" clId="{50FEE7C6-C750-47A3-BD0F-211F1B0ADAAF}" dt="2024-11-20T19:09:10.279" v="22791" actId="1076"/>
          <ac:picMkLst>
            <pc:docMk/>
            <pc:sldMk cId="4053821207" sldId="260"/>
            <ac:picMk id="10" creationId="{3E725029-7348-34D5-5969-11D7E774FFB3}"/>
          </ac:picMkLst>
        </pc:picChg>
      </pc:sldChg>
      <pc:sldChg chg="addSp modSp mod">
        <pc:chgData name="vidit garg" userId="8ae30a01eec24d4b" providerId="LiveId" clId="{50FEE7C6-C750-47A3-BD0F-211F1B0ADAAF}" dt="2024-11-20T19:09:37.840" v="22794" actId="1076"/>
        <pc:sldMkLst>
          <pc:docMk/>
          <pc:sldMk cId="2326732794" sldId="261"/>
        </pc:sldMkLst>
        <pc:picChg chg="add mod">
          <ac:chgData name="vidit garg" userId="8ae30a01eec24d4b" providerId="LiveId" clId="{50FEE7C6-C750-47A3-BD0F-211F1B0ADAAF}" dt="2024-11-20T19:03:12.861" v="22780" actId="931"/>
          <ac:picMkLst>
            <pc:docMk/>
            <pc:sldMk cId="2326732794" sldId="261"/>
            <ac:picMk id="10" creationId="{6C78219B-DB46-83CC-5989-8D64D1F5CA36}"/>
          </ac:picMkLst>
        </pc:picChg>
        <pc:picChg chg="add mod">
          <ac:chgData name="vidit garg" userId="8ae30a01eec24d4b" providerId="LiveId" clId="{50FEE7C6-C750-47A3-BD0F-211F1B0ADAAF}" dt="2024-11-20T19:09:37.840" v="22794" actId="1076"/>
          <ac:picMkLst>
            <pc:docMk/>
            <pc:sldMk cId="2326732794" sldId="261"/>
            <ac:picMk id="11" creationId="{4B5831AC-211A-4ABD-903F-D88245EDDE10}"/>
          </ac:picMkLst>
        </pc:picChg>
      </pc:sldChg>
      <pc:sldChg chg="addSp delSp modSp mod ord">
        <pc:chgData name="vidit garg" userId="8ae30a01eec24d4b" providerId="LiveId" clId="{50FEE7C6-C750-47A3-BD0F-211F1B0ADAAF}" dt="2024-11-21T09:55:54.016" v="24269" actId="20577"/>
        <pc:sldMkLst>
          <pc:docMk/>
          <pc:sldMk cId="1820089965" sldId="264"/>
        </pc:sldMkLst>
        <pc:spChg chg="add mod">
          <ac:chgData name="vidit garg" userId="8ae30a01eec24d4b" providerId="LiveId" clId="{50FEE7C6-C750-47A3-BD0F-211F1B0ADAAF}" dt="2024-11-20T08:43:34.219" v="16340"/>
          <ac:spMkLst>
            <pc:docMk/>
            <pc:sldMk cId="1820089965" sldId="264"/>
            <ac:spMk id="2" creationId="{EE786180-E002-91E5-CBC0-65FB251B94C9}"/>
          </ac:spMkLst>
        </pc:spChg>
        <pc:spChg chg="add del mod">
          <ac:chgData name="vidit garg" userId="8ae30a01eec24d4b" providerId="LiveId" clId="{50FEE7C6-C750-47A3-BD0F-211F1B0ADAAF}" dt="2024-11-20T18:01:40.918" v="22327" actId="478"/>
          <ac:spMkLst>
            <pc:docMk/>
            <pc:sldMk cId="1820089965" sldId="264"/>
            <ac:spMk id="5" creationId="{9EA0598A-42B0-2D0D-E48A-015C8AFBA2A9}"/>
          </ac:spMkLst>
        </pc:spChg>
        <pc:spChg chg="add del mod">
          <ac:chgData name="vidit garg" userId="8ae30a01eec24d4b" providerId="LiveId" clId="{50FEE7C6-C750-47A3-BD0F-211F1B0ADAAF}" dt="2024-11-20T18:01:44.404" v="22328" actId="478"/>
          <ac:spMkLst>
            <pc:docMk/>
            <pc:sldMk cId="1820089965" sldId="264"/>
            <ac:spMk id="7" creationId="{4F9F21A8-9921-7456-DA80-1549AD18AFF1}"/>
          </ac:spMkLst>
        </pc:spChg>
        <pc:spChg chg="add del mod">
          <ac:chgData name="vidit garg" userId="8ae30a01eec24d4b" providerId="LiveId" clId="{50FEE7C6-C750-47A3-BD0F-211F1B0ADAAF}" dt="2024-11-20T18:01:47.352" v="22329" actId="478"/>
          <ac:spMkLst>
            <pc:docMk/>
            <pc:sldMk cId="1820089965" sldId="264"/>
            <ac:spMk id="9" creationId="{AC3F8ECB-E1F7-198B-92F8-F27B48A3AB63}"/>
          </ac:spMkLst>
        </pc:spChg>
        <pc:spChg chg="add del mod">
          <ac:chgData name="vidit garg" userId="8ae30a01eec24d4b" providerId="LiveId" clId="{50FEE7C6-C750-47A3-BD0F-211F1B0ADAAF}" dt="2024-11-20T18:01:50.047" v="22330" actId="478"/>
          <ac:spMkLst>
            <pc:docMk/>
            <pc:sldMk cId="1820089965" sldId="264"/>
            <ac:spMk id="10" creationId="{8668EDCF-A976-9C49-3407-8DEFA5479814}"/>
          </ac:spMkLst>
        </pc:spChg>
        <pc:spChg chg="add del mod">
          <ac:chgData name="vidit garg" userId="8ae30a01eec24d4b" providerId="LiveId" clId="{50FEE7C6-C750-47A3-BD0F-211F1B0ADAAF}" dt="2024-11-20T18:01:52.034" v="22331" actId="478"/>
          <ac:spMkLst>
            <pc:docMk/>
            <pc:sldMk cId="1820089965" sldId="264"/>
            <ac:spMk id="11" creationId="{99976FBA-C0EF-1A51-E6CF-69C47AF7AC2D}"/>
          </ac:spMkLst>
        </pc:spChg>
        <pc:spChg chg="add del mod">
          <ac:chgData name="vidit garg" userId="8ae30a01eec24d4b" providerId="LiveId" clId="{50FEE7C6-C750-47A3-BD0F-211F1B0ADAAF}" dt="2024-11-21T09:45:03.603" v="23995" actId="478"/>
          <ac:spMkLst>
            <pc:docMk/>
            <pc:sldMk cId="1820089965" sldId="264"/>
            <ac:spMk id="14" creationId="{83382807-677C-BC0E-D259-78EEE6D30464}"/>
          </ac:spMkLst>
        </pc:spChg>
        <pc:spChg chg="add del mod">
          <ac:chgData name="vidit garg" userId="8ae30a01eec24d4b" providerId="LiveId" clId="{50FEE7C6-C750-47A3-BD0F-211F1B0ADAAF}" dt="2024-11-21T09:45:02.231" v="23994" actId="478"/>
          <ac:spMkLst>
            <pc:docMk/>
            <pc:sldMk cId="1820089965" sldId="264"/>
            <ac:spMk id="15" creationId="{2F91A0AF-1F27-3D12-3DDA-7732235EFBAE}"/>
          </ac:spMkLst>
        </pc:spChg>
        <pc:spChg chg="add del mod">
          <ac:chgData name="vidit garg" userId="8ae30a01eec24d4b" providerId="LiveId" clId="{50FEE7C6-C750-47A3-BD0F-211F1B0ADAAF}" dt="2024-11-21T09:50:49.155" v="24198" actId="478"/>
          <ac:spMkLst>
            <pc:docMk/>
            <pc:sldMk cId="1820089965" sldId="264"/>
            <ac:spMk id="16" creationId="{8DDB235B-3D4D-CB43-BE0A-586DCA51B33A}"/>
          </ac:spMkLst>
        </pc:spChg>
        <pc:spChg chg="add del mod">
          <ac:chgData name="vidit garg" userId="8ae30a01eec24d4b" providerId="LiveId" clId="{50FEE7C6-C750-47A3-BD0F-211F1B0ADAAF}" dt="2024-11-21T09:50:45.026" v="24197" actId="478"/>
          <ac:spMkLst>
            <pc:docMk/>
            <pc:sldMk cId="1820089965" sldId="264"/>
            <ac:spMk id="17" creationId="{56D8564B-CD2A-EA5F-833F-A9A684AC8660}"/>
          </ac:spMkLst>
        </pc:spChg>
        <pc:spChg chg="add mod">
          <ac:chgData name="vidit garg" userId="8ae30a01eec24d4b" providerId="LiveId" clId="{50FEE7C6-C750-47A3-BD0F-211F1B0ADAAF}" dt="2024-11-21T09:54:27.984" v="24259" actId="1076"/>
          <ac:spMkLst>
            <pc:docMk/>
            <pc:sldMk cId="1820089965" sldId="264"/>
            <ac:spMk id="19" creationId="{BC048FE7-2C6F-8806-A02F-E1AE5C3829C4}"/>
          </ac:spMkLst>
        </pc:spChg>
        <pc:spChg chg="add mod">
          <ac:chgData name="vidit garg" userId="8ae30a01eec24d4b" providerId="LiveId" clId="{50FEE7C6-C750-47A3-BD0F-211F1B0ADAAF}" dt="2024-11-20T18:02:00.772" v="22333" actId="207"/>
          <ac:spMkLst>
            <pc:docMk/>
            <pc:sldMk cId="1820089965" sldId="264"/>
            <ac:spMk id="20" creationId="{7D23DE0C-0948-25E8-D03B-A11CA95F49D3}"/>
          </ac:spMkLst>
        </pc:spChg>
        <pc:spChg chg="add mod">
          <ac:chgData name="vidit garg" userId="8ae30a01eec24d4b" providerId="LiveId" clId="{50FEE7C6-C750-47A3-BD0F-211F1B0ADAAF}" dt="2024-11-20T18:02:23.668" v="22339"/>
          <ac:spMkLst>
            <pc:docMk/>
            <pc:sldMk cId="1820089965" sldId="264"/>
            <ac:spMk id="21" creationId="{D1F74AB2-4453-874A-B8DF-33EF7312710D}"/>
          </ac:spMkLst>
        </pc:spChg>
        <pc:spChg chg="add mod">
          <ac:chgData name="vidit garg" userId="8ae30a01eec24d4b" providerId="LiveId" clId="{50FEE7C6-C750-47A3-BD0F-211F1B0ADAAF}" dt="2024-11-20T18:02:23.668" v="22339"/>
          <ac:spMkLst>
            <pc:docMk/>
            <pc:sldMk cId="1820089965" sldId="264"/>
            <ac:spMk id="22" creationId="{DE50B622-E08F-C57C-0697-EF4FC328497F}"/>
          </ac:spMkLst>
        </pc:spChg>
        <pc:spChg chg="add mod">
          <ac:chgData name="vidit garg" userId="8ae30a01eec24d4b" providerId="LiveId" clId="{50FEE7C6-C750-47A3-BD0F-211F1B0ADAAF}" dt="2024-11-20T18:02:23.668" v="22339"/>
          <ac:spMkLst>
            <pc:docMk/>
            <pc:sldMk cId="1820089965" sldId="264"/>
            <ac:spMk id="23" creationId="{EAA9FA41-3B87-404C-5977-0AA601D0EDA8}"/>
          </ac:spMkLst>
        </pc:spChg>
        <pc:spChg chg="add mod">
          <ac:chgData name="vidit garg" userId="8ae30a01eec24d4b" providerId="LiveId" clId="{50FEE7C6-C750-47A3-BD0F-211F1B0ADAAF}" dt="2024-11-20T18:02:23.668" v="22339"/>
          <ac:spMkLst>
            <pc:docMk/>
            <pc:sldMk cId="1820089965" sldId="264"/>
            <ac:spMk id="24" creationId="{A0851BB0-5611-B652-6221-913802938D49}"/>
          </ac:spMkLst>
        </pc:spChg>
        <pc:spChg chg="add mod">
          <ac:chgData name="vidit garg" userId="8ae30a01eec24d4b" providerId="LiveId" clId="{50FEE7C6-C750-47A3-BD0F-211F1B0ADAAF}" dt="2024-11-20T18:02:32.408" v="22340" actId="207"/>
          <ac:spMkLst>
            <pc:docMk/>
            <pc:sldMk cId="1820089965" sldId="264"/>
            <ac:spMk id="25" creationId="{A8B6452C-7D6A-20C3-FC99-1819B99802CC}"/>
          </ac:spMkLst>
        </pc:spChg>
        <pc:spChg chg="add mod">
          <ac:chgData name="vidit garg" userId="8ae30a01eec24d4b" providerId="LiveId" clId="{50FEE7C6-C750-47A3-BD0F-211F1B0ADAAF}" dt="2024-11-21T09:55:54.016" v="24269" actId="20577"/>
          <ac:spMkLst>
            <pc:docMk/>
            <pc:sldMk cId="1820089965" sldId="264"/>
            <ac:spMk id="26" creationId="{F57B1C9B-C17E-9498-CAA6-2C4AEE007C64}"/>
          </ac:spMkLst>
        </pc:spChg>
        <pc:spChg chg="add mod ord">
          <ac:chgData name="vidit garg" userId="8ae30a01eec24d4b" providerId="LiveId" clId="{50FEE7C6-C750-47A3-BD0F-211F1B0ADAAF}" dt="2024-11-21T09:55:15.518" v="24268" actId="692"/>
          <ac:spMkLst>
            <pc:docMk/>
            <pc:sldMk cId="1820089965" sldId="264"/>
            <ac:spMk id="27" creationId="{B9801088-7B50-4582-B142-48726FFB940D}"/>
          </ac:spMkLst>
        </pc:spChg>
        <pc:spChg chg="mod">
          <ac:chgData name="vidit garg" userId="8ae30a01eec24d4b" providerId="LiveId" clId="{50FEE7C6-C750-47A3-BD0F-211F1B0ADAAF}" dt="2024-11-20T18:02:07.332" v="22338" actId="1038"/>
          <ac:spMkLst>
            <pc:docMk/>
            <pc:sldMk cId="1820089965" sldId="264"/>
            <ac:spMk id="82" creationId="{C7F75225-0A42-4783-B192-BE092CAC824C}"/>
          </ac:spMkLst>
        </pc:spChg>
        <pc:spChg chg="mod">
          <ac:chgData name="vidit garg" userId="8ae30a01eec24d4b" providerId="LiveId" clId="{50FEE7C6-C750-47A3-BD0F-211F1B0ADAAF}" dt="2024-11-21T09:44:58.259" v="23993" actId="20577"/>
          <ac:spMkLst>
            <pc:docMk/>
            <pc:sldMk cId="1820089965" sldId="264"/>
            <ac:spMk id="145" creationId="{4FD1B8EF-A16B-4405-A241-BEEF80D3F533}"/>
          </ac:spMkLst>
        </pc:spChg>
        <pc:spChg chg="mod">
          <ac:chgData name="vidit garg" userId="8ae30a01eec24d4b" providerId="LiveId" clId="{50FEE7C6-C750-47A3-BD0F-211F1B0ADAAF}" dt="2024-11-20T08:44:55.026" v="16368" actId="20577"/>
          <ac:spMkLst>
            <pc:docMk/>
            <pc:sldMk cId="1820089965" sldId="264"/>
            <ac:spMk id="161" creationId="{698E5167-1AB3-43B8-9DA1-7C18B34EE5F9}"/>
          </ac:spMkLst>
        </pc:spChg>
        <pc:graphicFrameChg chg="modGraphic">
          <ac:chgData name="vidit garg" userId="8ae30a01eec24d4b" providerId="LiveId" clId="{50FEE7C6-C750-47A3-BD0F-211F1B0ADAAF}" dt="2024-11-20T08:42:15.256" v="16327"/>
          <ac:graphicFrameMkLst>
            <pc:docMk/>
            <pc:sldMk cId="1820089965" sldId="264"/>
            <ac:graphicFrameMk id="4" creationId="{807FAE05-62F9-94E6-F181-083B6D3D2295}"/>
          </ac:graphicFrameMkLst>
        </pc:graphicFrameChg>
        <pc:picChg chg="add del mod">
          <ac:chgData name="vidit garg" userId="8ae30a01eec24d4b" providerId="LiveId" clId="{50FEE7C6-C750-47A3-BD0F-211F1B0ADAAF}" dt="2024-11-21T09:45:05.247" v="23996" actId="478"/>
          <ac:picMkLst>
            <pc:docMk/>
            <pc:sldMk cId="1820089965" sldId="264"/>
            <ac:picMk id="13" creationId="{2F814C3A-C05D-EFB5-977D-955DA57AA271}"/>
          </ac:picMkLst>
        </pc:picChg>
        <pc:picChg chg="add mod">
          <ac:chgData name="vidit garg" userId="8ae30a01eec24d4b" providerId="LiveId" clId="{50FEE7C6-C750-47A3-BD0F-211F1B0ADAAF}" dt="2024-11-20T08:49:55.877" v="16476"/>
          <ac:picMkLst>
            <pc:docMk/>
            <pc:sldMk cId="1820089965" sldId="264"/>
            <ac:picMk id="18" creationId="{AC0369CF-1100-268C-D50D-2820879AA508}"/>
          </ac:picMkLst>
        </pc:picChg>
        <pc:cxnChg chg="add del mod">
          <ac:chgData name="vidit garg" userId="8ae30a01eec24d4b" providerId="LiveId" clId="{50FEE7C6-C750-47A3-BD0F-211F1B0ADAAF}" dt="2024-11-20T08:42:11.051" v="16325" actId="478"/>
          <ac:cxnSpMkLst>
            <pc:docMk/>
            <pc:sldMk cId="1820089965" sldId="264"/>
            <ac:cxnSpMk id="3" creationId="{C368F012-8CF3-A281-05F9-49BC19C688C9}"/>
          </ac:cxnSpMkLst>
        </pc:cxnChg>
        <pc:cxnChg chg="add del mod">
          <ac:chgData name="vidit garg" userId="8ae30a01eec24d4b" providerId="LiveId" clId="{50FEE7C6-C750-47A3-BD0F-211F1B0ADAAF}" dt="2024-11-20T08:42:13.156" v="16326" actId="478"/>
          <ac:cxnSpMkLst>
            <pc:docMk/>
            <pc:sldMk cId="1820089965" sldId="264"/>
            <ac:cxnSpMk id="8" creationId="{5BDA4F08-1F73-5456-7E65-4EBBDBD5E189}"/>
          </ac:cxnSpMkLst>
        </pc:cxnChg>
        <pc:cxnChg chg="add del mod">
          <ac:chgData name="vidit garg" userId="8ae30a01eec24d4b" providerId="LiveId" clId="{50FEE7C6-C750-47A3-BD0F-211F1B0ADAAF}" dt="2024-11-21T09:54:04.196" v="24255" actId="478"/>
          <ac:cxnSpMkLst>
            <pc:docMk/>
            <pc:sldMk cId="1820089965" sldId="264"/>
            <ac:cxnSpMk id="29" creationId="{E29F065B-3945-8FDB-3A2C-F3BF628AE7E5}"/>
          </ac:cxnSpMkLst>
        </pc:cxnChg>
        <pc:cxnChg chg="add del mod">
          <ac:chgData name="vidit garg" userId="8ae30a01eec24d4b" providerId="LiveId" clId="{50FEE7C6-C750-47A3-BD0F-211F1B0ADAAF}" dt="2024-11-21T09:54:06.643" v="24256" actId="478"/>
          <ac:cxnSpMkLst>
            <pc:docMk/>
            <pc:sldMk cId="1820089965" sldId="264"/>
            <ac:cxnSpMk id="32" creationId="{9017C73E-E958-6D70-C66E-34EDABC143AB}"/>
          </ac:cxnSpMkLst>
        </pc:cxnChg>
        <pc:cxnChg chg="add del mod">
          <ac:chgData name="vidit garg" userId="8ae30a01eec24d4b" providerId="LiveId" clId="{50FEE7C6-C750-47A3-BD0F-211F1B0ADAAF}" dt="2024-11-21T09:55:00.539" v="24265" actId="478"/>
          <ac:cxnSpMkLst>
            <pc:docMk/>
            <pc:sldMk cId="1820089965" sldId="264"/>
            <ac:cxnSpMk id="34" creationId="{BF8A660B-1DFE-B268-D964-66B61EB86F8F}"/>
          </ac:cxnSpMkLst>
        </pc:cxnChg>
      </pc:sldChg>
      <pc:sldChg chg="addSp delSp modSp del mod">
        <pc:chgData name="vidit garg" userId="8ae30a01eec24d4b" providerId="LiveId" clId="{50FEE7C6-C750-47A3-BD0F-211F1B0ADAAF}" dt="2024-11-20T18:24:51.770" v="22720" actId="47"/>
        <pc:sldMkLst>
          <pc:docMk/>
          <pc:sldMk cId="3888688317" sldId="265"/>
        </pc:sldMkLst>
      </pc:sldChg>
      <pc:sldChg chg="addSp delSp modSp mod ord">
        <pc:chgData name="vidit garg" userId="8ae30a01eec24d4b" providerId="LiveId" clId="{50FEE7C6-C750-47A3-BD0F-211F1B0ADAAF}" dt="2024-11-21T09:52:32.545" v="24249" actId="1037"/>
        <pc:sldMkLst>
          <pc:docMk/>
          <pc:sldMk cId="2538419880" sldId="266"/>
        </pc:sldMkLst>
        <pc:spChg chg="del mod">
          <ac:chgData name="vidit garg" userId="8ae30a01eec24d4b" providerId="LiveId" clId="{50FEE7C6-C750-47A3-BD0F-211F1B0ADAAF}" dt="2024-11-20T04:49:59.748" v="14202"/>
          <ac:spMkLst>
            <pc:docMk/>
            <pc:sldMk cId="2538419880" sldId="266"/>
            <ac:spMk id="2" creationId="{F4FC770C-DC0D-E2D3-64DA-FE7B868923AF}"/>
          </ac:spMkLst>
        </pc:spChg>
        <pc:spChg chg="mod">
          <ac:chgData name="vidit garg" userId="8ae30a01eec24d4b" providerId="LiveId" clId="{50FEE7C6-C750-47A3-BD0F-211F1B0ADAAF}" dt="2024-11-19T17:16:13.473" v="3904" actId="1036"/>
          <ac:spMkLst>
            <pc:docMk/>
            <pc:sldMk cId="2538419880" sldId="266"/>
            <ac:spMk id="5" creationId="{5981E6D3-AA7C-50CB-D7CC-EC91882ED629}"/>
          </ac:spMkLst>
        </pc:spChg>
        <pc:spChg chg="mod">
          <ac:chgData name="vidit garg" userId="8ae30a01eec24d4b" providerId="LiveId" clId="{50FEE7C6-C750-47A3-BD0F-211F1B0ADAAF}" dt="2024-11-19T16:01:10.072" v="1701" actId="14100"/>
          <ac:spMkLst>
            <pc:docMk/>
            <pc:sldMk cId="2538419880" sldId="266"/>
            <ac:spMk id="6" creationId="{4A7EFBD1-04A1-476B-AF8B-1AD32F27E35F}"/>
          </ac:spMkLst>
        </pc:spChg>
        <pc:spChg chg="mod">
          <ac:chgData name="vidit garg" userId="8ae30a01eec24d4b" providerId="LiveId" clId="{50FEE7C6-C750-47A3-BD0F-211F1B0ADAAF}" dt="2024-11-19T16:01:10.072" v="1701" actId="14100"/>
          <ac:spMkLst>
            <pc:docMk/>
            <pc:sldMk cId="2538419880" sldId="266"/>
            <ac:spMk id="10" creationId="{2E065C3F-E80F-CD54-12A1-8868CFC81FB3}"/>
          </ac:spMkLst>
        </pc:spChg>
        <pc:spChg chg="mod">
          <ac:chgData name="vidit garg" userId="8ae30a01eec24d4b" providerId="LiveId" clId="{50FEE7C6-C750-47A3-BD0F-211F1B0ADAAF}" dt="2024-11-19T16:01:10.072" v="1701" actId="14100"/>
          <ac:spMkLst>
            <pc:docMk/>
            <pc:sldMk cId="2538419880" sldId="266"/>
            <ac:spMk id="11" creationId="{60772033-9BB7-D14A-79ED-DB30192494B6}"/>
          </ac:spMkLst>
        </pc:spChg>
        <pc:spChg chg="add mod">
          <ac:chgData name="vidit garg" userId="8ae30a01eec24d4b" providerId="LiveId" clId="{50FEE7C6-C750-47A3-BD0F-211F1B0ADAAF}" dt="2024-11-21T09:12:44.675" v="23750" actId="255"/>
          <ac:spMkLst>
            <pc:docMk/>
            <pc:sldMk cId="2538419880" sldId="266"/>
            <ac:spMk id="13" creationId="{936EC33E-F322-B055-1598-2A9C1B089170}"/>
          </ac:spMkLst>
        </pc:spChg>
        <pc:spChg chg="mod">
          <ac:chgData name="vidit garg" userId="8ae30a01eec24d4b" providerId="LiveId" clId="{50FEE7C6-C750-47A3-BD0F-211F1B0ADAAF}" dt="2024-11-19T16:01:10.072" v="1701" actId="14100"/>
          <ac:spMkLst>
            <pc:docMk/>
            <pc:sldMk cId="2538419880" sldId="266"/>
            <ac:spMk id="14" creationId="{13469B07-D594-CEEA-C16B-438EFB233194}"/>
          </ac:spMkLst>
        </pc:spChg>
        <pc:spChg chg="mod">
          <ac:chgData name="vidit garg" userId="8ae30a01eec24d4b" providerId="LiveId" clId="{50FEE7C6-C750-47A3-BD0F-211F1B0ADAAF}" dt="2024-11-19T16:01:10.072" v="1701" actId="14100"/>
          <ac:spMkLst>
            <pc:docMk/>
            <pc:sldMk cId="2538419880" sldId="266"/>
            <ac:spMk id="16" creationId="{1D5D5D5E-B310-84FE-45D7-2B106E25A6A1}"/>
          </ac:spMkLst>
        </pc:spChg>
        <pc:spChg chg="mod">
          <ac:chgData name="vidit garg" userId="8ae30a01eec24d4b" providerId="LiveId" clId="{50FEE7C6-C750-47A3-BD0F-211F1B0ADAAF}" dt="2024-11-19T16:01:10.072" v="1701" actId="14100"/>
          <ac:spMkLst>
            <pc:docMk/>
            <pc:sldMk cId="2538419880" sldId="266"/>
            <ac:spMk id="17" creationId="{DBFEC3BE-B10A-1775-0122-E89E360BCC81}"/>
          </ac:spMkLst>
        </pc:spChg>
        <pc:spChg chg="mod">
          <ac:chgData name="vidit garg" userId="8ae30a01eec24d4b" providerId="LiveId" clId="{50FEE7C6-C750-47A3-BD0F-211F1B0ADAAF}" dt="2024-11-19T16:01:10.072" v="1701" actId="14100"/>
          <ac:spMkLst>
            <pc:docMk/>
            <pc:sldMk cId="2538419880" sldId="266"/>
            <ac:spMk id="18" creationId="{CB27D5B5-9D57-797F-0F11-68B51F0AB6FA}"/>
          </ac:spMkLst>
        </pc:spChg>
        <pc:spChg chg="add mod">
          <ac:chgData name="vidit garg" userId="8ae30a01eec24d4b" providerId="LiveId" clId="{50FEE7C6-C750-47A3-BD0F-211F1B0ADAAF}" dt="2024-11-19T18:27:41.062" v="4572" actId="1035"/>
          <ac:spMkLst>
            <pc:docMk/>
            <pc:sldMk cId="2538419880" sldId="266"/>
            <ac:spMk id="19" creationId="{6B55FE36-67E1-D27F-531C-4D37D91345DD}"/>
          </ac:spMkLst>
        </pc:spChg>
        <pc:spChg chg="add mod">
          <ac:chgData name="vidit garg" userId="8ae30a01eec24d4b" providerId="LiveId" clId="{50FEE7C6-C750-47A3-BD0F-211F1B0ADAAF}" dt="2024-11-20T04:18:44.594" v="13363" actId="1076"/>
          <ac:spMkLst>
            <pc:docMk/>
            <pc:sldMk cId="2538419880" sldId="266"/>
            <ac:spMk id="28" creationId="{87271CB4-9A0F-B2C8-5ABA-8A3CD83DEE2B}"/>
          </ac:spMkLst>
        </pc:spChg>
        <pc:spChg chg="add mod">
          <ac:chgData name="vidit garg" userId="8ae30a01eec24d4b" providerId="LiveId" clId="{50FEE7C6-C750-47A3-BD0F-211F1B0ADAAF}" dt="2024-11-20T04:40:34.874" v="14021" actId="693"/>
          <ac:spMkLst>
            <pc:docMk/>
            <pc:sldMk cId="2538419880" sldId="266"/>
            <ac:spMk id="29" creationId="{0E81A220-8519-7989-80C1-70308CBB3759}"/>
          </ac:spMkLst>
        </pc:spChg>
        <pc:spChg chg="add mod">
          <ac:chgData name="vidit garg" userId="8ae30a01eec24d4b" providerId="LiveId" clId="{50FEE7C6-C750-47A3-BD0F-211F1B0ADAAF}" dt="2024-11-20T04:19:09.944" v="13380" actId="20577"/>
          <ac:spMkLst>
            <pc:docMk/>
            <pc:sldMk cId="2538419880" sldId="266"/>
            <ac:spMk id="30" creationId="{302E744E-889C-2054-FD59-28AA505D9264}"/>
          </ac:spMkLst>
        </pc:spChg>
        <pc:spChg chg="add mod">
          <ac:chgData name="vidit garg" userId="8ae30a01eec24d4b" providerId="LiveId" clId="{50FEE7C6-C750-47A3-BD0F-211F1B0ADAAF}" dt="2024-11-19T18:26:19.157" v="4551" actId="207"/>
          <ac:spMkLst>
            <pc:docMk/>
            <pc:sldMk cId="2538419880" sldId="266"/>
            <ac:spMk id="31" creationId="{A07126F6-4A78-211D-054B-3690CB667C7D}"/>
          </ac:spMkLst>
        </pc:spChg>
        <pc:spChg chg="add mod ord">
          <ac:chgData name="vidit garg" userId="8ae30a01eec24d4b" providerId="LiveId" clId="{50FEE7C6-C750-47A3-BD0F-211F1B0ADAAF}" dt="2024-11-20T04:27:41.186" v="13689" actId="166"/>
          <ac:spMkLst>
            <pc:docMk/>
            <pc:sldMk cId="2538419880" sldId="266"/>
            <ac:spMk id="32" creationId="{BEB67094-8A70-28B6-E196-70B5CFDE2EEC}"/>
          </ac:spMkLst>
        </pc:spChg>
        <pc:spChg chg="add mod">
          <ac:chgData name="vidit garg" userId="8ae30a01eec24d4b" providerId="LiveId" clId="{50FEE7C6-C750-47A3-BD0F-211F1B0ADAAF}" dt="2024-11-20T04:24:06.191" v="13551" actId="14100"/>
          <ac:spMkLst>
            <pc:docMk/>
            <pc:sldMk cId="2538419880" sldId="266"/>
            <ac:spMk id="35" creationId="{78E7C450-7B38-B6DC-F294-419A4D189430}"/>
          </ac:spMkLst>
        </pc:spChg>
        <pc:spChg chg="add mod">
          <ac:chgData name="vidit garg" userId="8ae30a01eec24d4b" providerId="LiveId" clId="{50FEE7C6-C750-47A3-BD0F-211F1B0ADAAF}" dt="2024-11-20T04:24:24.295" v="13558" actId="1076"/>
          <ac:spMkLst>
            <pc:docMk/>
            <pc:sldMk cId="2538419880" sldId="266"/>
            <ac:spMk id="36" creationId="{14DD85FB-B9C1-C6BF-71F6-D65481C57060}"/>
          </ac:spMkLst>
        </pc:spChg>
        <pc:spChg chg="add mod">
          <ac:chgData name="vidit garg" userId="8ae30a01eec24d4b" providerId="LiveId" clId="{50FEE7C6-C750-47A3-BD0F-211F1B0ADAAF}" dt="2024-11-20T04:24:34.261" v="13559" actId="1076"/>
          <ac:spMkLst>
            <pc:docMk/>
            <pc:sldMk cId="2538419880" sldId="266"/>
            <ac:spMk id="37" creationId="{779C2814-7483-9159-4DDE-63A4DCEA1115}"/>
          </ac:spMkLst>
        </pc:spChg>
        <pc:spChg chg="add mod">
          <ac:chgData name="vidit garg" userId="8ae30a01eec24d4b" providerId="LiveId" clId="{50FEE7C6-C750-47A3-BD0F-211F1B0ADAAF}" dt="2024-11-20T04:24:51.603" v="13560" actId="1076"/>
          <ac:spMkLst>
            <pc:docMk/>
            <pc:sldMk cId="2538419880" sldId="266"/>
            <ac:spMk id="38" creationId="{29A9EDE1-7323-DE98-E8FD-C573E5618A49}"/>
          </ac:spMkLst>
        </pc:spChg>
        <pc:spChg chg="add mod ord">
          <ac:chgData name="vidit garg" userId="8ae30a01eec24d4b" providerId="LiveId" clId="{50FEE7C6-C750-47A3-BD0F-211F1B0ADAAF}" dt="2024-11-20T04:28:32.246" v="13696" actId="166"/>
          <ac:spMkLst>
            <pc:docMk/>
            <pc:sldMk cId="2538419880" sldId="266"/>
            <ac:spMk id="39" creationId="{97B84015-CF94-CB52-A476-2B5A9A9A5379}"/>
          </ac:spMkLst>
        </pc:spChg>
        <pc:spChg chg="add mod ord">
          <ac:chgData name="vidit garg" userId="8ae30a01eec24d4b" providerId="LiveId" clId="{50FEE7C6-C750-47A3-BD0F-211F1B0ADAAF}" dt="2024-11-20T04:28:27.956" v="13694" actId="166"/>
          <ac:spMkLst>
            <pc:docMk/>
            <pc:sldMk cId="2538419880" sldId="266"/>
            <ac:spMk id="40" creationId="{3E88023C-6BA1-FE1C-ADDF-D5A92A4B4461}"/>
          </ac:spMkLst>
        </pc:spChg>
        <pc:spChg chg="add del mod">
          <ac:chgData name="vidit garg" userId="8ae30a01eec24d4b" providerId="LiveId" clId="{50FEE7C6-C750-47A3-BD0F-211F1B0ADAAF}" dt="2024-11-20T04:25:16.312" v="13680" actId="478"/>
          <ac:spMkLst>
            <pc:docMk/>
            <pc:sldMk cId="2538419880" sldId="266"/>
            <ac:spMk id="41" creationId="{343C0866-790B-2A56-CD11-22DEFEC8A4D7}"/>
          </ac:spMkLst>
        </pc:spChg>
        <pc:spChg chg="add mod">
          <ac:chgData name="vidit garg" userId="8ae30a01eec24d4b" providerId="LiveId" clId="{50FEE7C6-C750-47A3-BD0F-211F1B0ADAAF}" dt="2024-11-20T04:28:37.662" v="13697" actId="1076"/>
          <ac:spMkLst>
            <pc:docMk/>
            <pc:sldMk cId="2538419880" sldId="266"/>
            <ac:spMk id="42" creationId="{53B50454-4E8C-0173-B1AF-0ADB78CA82A1}"/>
          </ac:spMkLst>
        </pc:spChg>
        <pc:spChg chg="add mod ord">
          <ac:chgData name="vidit garg" userId="8ae30a01eec24d4b" providerId="LiveId" clId="{50FEE7C6-C750-47A3-BD0F-211F1B0ADAAF}" dt="2024-11-20T04:57:47.442" v="14339" actId="1036"/>
          <ac:spMkLst>
            <pc:docMk/>
            <pc:sldMk cId="2538419880" sldId="266"/>
            <ac:spMk id="43" creationId="{5C5830A0-D65C-09DF-0682-D5DE97B30DCE}"/>
          </ac:spMkLst>
        </pc:spChg>
        <pc:spChg chg="add mod">
          <ac:chgData name="vidit garg" userId="8ae30a01eec24d4b" providerId="LiveId" clId="{50FEE7C6-C750-47A3-BD0F-211F1B0ADAAF}" dt="2024-11-20T06:35:12.475" v="16182" actId="255"/>
          <ac:spMkLst>
            <pc:docMk/>
            <pc:sldMk cId="2538419880" sldId="266"/>
            <ac:spMk id="44" creationId="{18FD6E9C-9E9C-EC63-8E44-A42B3CC96E7A}"/>
          </ac:spMkLst>
        </pc:spChg>
        <pc:spChg chg="add mod ord">
          <ac:chgData name="vidit garg" userId="8ae30a01eec24d4b" providerId="LiveId" clId="{50FEE7C6-C750-47A3-BD0F-211F1B0ADAAF}" dt="2024-11-20T04:48:37.543" v="14149" actId="1036"/>
          <ac:spMkLst>
            <pc:docMk/>
            <pc:sldMk cId="2538419880" sldId="266"/>
            <ac:spMk id="48" creationId="{26552775-D0F2-1FB2-9296-39BF85F71076}"/>
          </ac:spMkLst>
        </pc:spChg>
        <pc:spChg chg="add del mod">
          <ac:chgData name="vidit garg" userId="8ae30a01eec24d4b" providerId="LiveId" clId="{50FEE7C6-C750-47A3-BD0F-211F1B0ADAAF}" dt="2024-11-19T16:01:16.948" v="1703" actId="207"/>
          <ac:spMkLst>
            <pc:docMk/>
            <pc:sldMk cId="2538419880" sldId="266"/>
            <ac:spMk id="50" creationId="{BD243EF1-D435-A0BC-2D38-85F808522310}"/>
          </ac:spMkLst>
        </pc:spChg>
        <pc:spChg chg="add mod">
          <ac:chgData name="vidit garg" userId="8ae30a01eec24d4b" providerId="LiveId" clId="{50FEE7C6-C750-47A3-BD0F-211F1B0ADAAF}" dt="2024-11-20T04:48:22.246" v="14107" actId="207"/>
          <ac:spMkLst>
            <pc:docMk/>
            <pc:sldMk cId="2538419880" sldId="266"/>
            <ac:spMk id="51" creationId="{2CE07BA8-8314-8EE7-B791-7717AC2BB2EF}"/>
          </ac:spMkLst>
        </pc:spChg>
        <pc:spChg chg="add del mod">
          <ac:chgData name="vidit garg" userId="8ae30a01eec24d4b" providerId="LiveId" clId="{50FEE7C6-C750-47A3-BD0F-211F1B0ADAAF}" dt="2024-11-20T04:57:13.081" v="14334" actId="478"/>
          <ac:spMkLst>
            <pc:docMk/>
            <pc:sldMk cId="2538419880" sldId="266"/>
            <ac:spMk id="53" creationId="{11ABFF74-B698-FF95-F942-C4A26704A66E}"/>
          </ac:spMkLst>
        </pc:spChg>
        <pc:spChg chg="add del mod">
          <ac:chgData name="vidit garg" userId="8ae30a01eec24d4b" providerId="LiveId" clId="{50FEE7C6-C750-47A3-BD0F-211F1B0ADAAF}" dt="2024-11-20T04:57:18.504" v="14335" actId="478"/>
          <ac:spMkLst>
            <pc:docMk/>
            <pc:sldMk cId="2538419880" sldId="266"/>
            <ac:spMk id="54" creationId="{C70886E3-BFB7-FC57-9347-8FA1038A558B}"/>
          </ac:spMkLst>
        </pc:spChg>
        <pc:spChg chg="add mod ord">
          <ac:chgData name="vidit garg" userId="8ae30a01eec24d4b" providerId="LiveId" clId="{50FEE7C6-C750-47A3-BD0F-211F1B0ADAAF}" dt="2024-11-21T09:02:57.382" v="23638" actId="1036"/>
          <ac:spMkLst>
            <pc:docMk/>
            <pc:sldMk cId="2538419880" sldId="266"/>
            <ac:spMk id="55" creationId="{DA857A18-4DF7-16FB-A974-1E3031B6EB1A}"/>
          </ac:spMkLst>
        </pc:spChg>
        <pc:spChg chg="add mod">
          <ac:chgData name="vidit garg" userId="8ae30a01eec24d4b" providerId="LiveId" clId="{50FEE7C6-C750-47A3-BD0F-211F1B0ADAAF}" dt="2024-11-20T05:05:06.802" v="14401" actId="1076"/>
          <ac:spMkLst>
            <pc:docMk/>
            <pc:sldMk cId="2538419880" sldId="266"/>
            <ac:spMk id="56" creationId="{AB0109CC-1BD0-8BCC-EFE5-C0EE74D2EAD2}"/>
          </ac:spMkLst>
        </pc:spChg>
        <pc:spChg chg="add mod">
          <ac:chgData name="vidit garg" userId="8ae30a01eec24d4b" providerId="LiveId" clId="{50FEE7C6-C750-47A3-BD0F-211F1B0ADAAF}" dt="2024-11-20T05:07:10.296" v="14406" actId="207"/>
          <ac:spMkLst>
            <pc:docMk/>
            <pc:sldMk cId="2538419880" sldId="266"/>
            <ac:spMk id="59" creationId="{CEEA0439-036D-92D4-E259-0C144FCDAB35}"/>
          </ac:spMkLst>
        </pc:spChg>
        <pc:spChg chg="add mod">
          <ac:chgData name="vidit garg" userId="8ae30a01eec24d4b" providerId="LiveId" clId="{50FEE7C6-C750-47A3-BD0F-211F1B0ADAAF}" dt="2024-11-20T05:10:44.608" v="14792" actId="1037"/>
          <ac:spMkLst>
            <pc:docMk/>
            <pc:sldMk cId="2538419880" sldId="266"/>
            <ac:spMk id="62" creationId="{F6A6876F-0559-6DE5-6D63-D608798530E3}"/>
          </ac:spMkLst>
        </pc:spChg>
        <pc:spChg chg="add mod">
          <ac:chgData name="vidit garg" userId="8ae30a01eec24d4b" providerId="LiveId" clId="{50FEE7C6-C750-47A3-BD0F-211F1B0ADAAF}" dt="2024-11-20T05:12:39.067" v="15004" actId="1037"/>
          <ac:spMkLst>
            <pc:docMk/>
            <pc:sldMk cId="2538419880" sldId="266"/>
            <ac:spMk id="63" creationId="{A0975029-757A-AF41-3A21-D38A1725A6E5}"/>
          </ac:spMkLst>
        </pc:spChg>
        <pc:spChg chg="add mod">
          <ac:chgData name="vidit garg" userId="8ae30a01eec24d4b" providerId="LiveId" clId="{50FEE7C6-C750-47A3-BD0F-211F1B0ADAAF}" dt="2024-11-20T05:12:43.077" v="15020" actId="1037"/>
          <ac:spMkLst>
            <pc:docMk/>
            <pc:sldMk cId="2538419880" sldId="266"/>
            <ac:spMk id="64" creationId="{182BDBA3-BFA2-EC50-0BE8-422F106420EC}"/>
          </ac:spMkLst>
        </pc:spChg>
        <pc:spChg chg="add mod">
          <ac:chgData name="vidit garg" userId="8ae30a01eec24d4b" providerId="LiveId" clId="{50FEE7C6-C750-47A3-BD0F-211F1B0ADAAF}" dt="2024-11-20T05:12:48.905" v="15031" actId="1037"/>
          <ac:spMkLst>
            <pc:docMk/>
            <pc:sldMk cId="2538419880" sldId="266"/>
            <ac:spMk id="65" creationId="{231022B0-9666-615E-5937-D14874FFDD30}"/>
          </ac:spMkLst>
        </pc:spChg>
        <pc:spChg chg="add mod">
          <ac:chgData name="vidit garg" userId="8ae30a01eec24d4b" providerId="LiveId" clId="{50FEE7C6-C750-47A3-BD0F-211F1B0ADAAF}" dt="2024-11-20T05:13:34.045" v="15133" actId="1038"/>
          <ac:spMkLst>
            <pc:docMk/>
            <pc:sldMk cId="2538419880" sldId="266"/>
            <ac:spMk id="69" creationId="{4209ED89-09E0-D60B-0FF3-8AFE1C6FEAF9}"/>
          </ac:spMkLst>
        </pc:spChg>
        <pc:spChg chg="add mod">
          <ac:chgData name="vidit garg" userId="8ae30a01eec24d4b" providerId="LiveId" clId="{50FEE7C6-C750-47A3-BD0F-211F1B0ADAAF}" dt="2024-11-21T09:08:10.979" v="23724" actId="20577"/>
          <ac:spMkLst>
            <pc:docMk/>
            <pc:sldMk cId="2538419880" sldId="266"/>
            <ac:spMk id="71" creationId="{A122F84B-8942-3822-6362-AFAEDEFBDC7E}"/>
          </ac:spMkLst>
        </pc:spChg>
        <pc:spChg chg="mod">
          <ac:chgData name="vidit garg" userId="8ae30a01eec24d4b" providerId="LiveId" clId="{50FEE7C6-C750-47A3-BD0F-211F1B0ADAAF}" dt="2024-11-20T05:10:51.406" v="14816" actId="1038"/>
          <ac:spMkLst>
            <pc:docMk/>
            <pc:sldMk cId="2538419880" sldId="266"/>
            <ac:spMk id="82" creationId="{C7F75225-0A42-4783-B192-BE092CAC824C}"/>
          </ac:spMkLst>
        </pc:spChg>
        <pc:spChg chg="mod">
          <ac:chgData name="vidit garg" userId="8ae30a01eec24d4b" providerId="LiveId" clId="{50FEE7C6-C750-47A3-BD0F-211F1B0ADAAF}" dt="2024-11-19T14:57:35.209" v="147" actId="1076"/>
          <ac:spMkLst>
            <pc:docMk/>
            <pc:sldMk cId="2538419880" sldId="266"/>
            <ac:spMk id="86" creationId="{9091ABC8-9465-470B-A6C0-6DCB426F4B9F}"/>
          </ac:spMkLst>
        </pc:spChg>
        <pc:spChg chg="mod">
          <ac:chgData name="vidit garg" userId="8ae30a01eec24d4b" providerId="LiveId" clId="{50FEE7C6-C750-47A3-BD0F-211F1B0ADAAF}" dt="2024-11-19T15:39:58.116" v="887" actId="14100"/>
          <ac:spMkLst>
            <pc:docMk/>
            <pc:sldMk cId="2538419880" sldId="266"/>
            <ac:spMk id="88" creationId="{FF2C3A19-4434-4FB2-8A38-A408E72CAD1F}"/>
          </ac:spMkLst>
        </pc:spChg>
        <pc:spChg chg="mod">
          <ac:chgData name="vidit garg" userId="8ae30a01eec24d4b" providerId="LiveId" clId="{50FEE7C6-C750-47A3-BD0F-211F1B0ADAAF}" dt="2024-11-19T15:27:01.746" v="235" actId="1035"/>
          <ac:spMkLst>
            <pc:docMk/>
            <pc:sldMk cId="2538419880" sldId="266"/>
            <ac:spMk id="91" creationId="{4ECDE3F0-E5FE-4EB1-BBDA-6C975150519D}"/>
          </ac:spMkLst>
        </pc:spChg>
        <pc:spChg chg="mod">
          <ac:chgData name="vidit garg" userId="8ae30a01eec24d4b" providerId="LiveId" clId="{50FEE7C6-C750-47A3-BD0F-211F1B0ADAAF}" dt="2024-11-19T15:55:21.219" v="1260" actId="1038"/>
          <ac:spMkLst>
            <pc:docMk/>
            <pc:sldMk cId="2538419880" sldId="266"/>
            <ac:spMk id="92" creationId="{78A78284-3349-4F00-9B29-B9FBE58EAC17}"/>
          </ac:spMkLst>
        </pc:spChg>
        <pc:spChg chg="add mod">
          <ac:chgData name="vidit garg" userId="8ae30a01eec24d4b" providerId="LiveId" clId="{50FEE7C6-C750-47A3-BD0F-211F1B0ADAAF}" dt="2024-11-21T09:10:06.385" v="23740" actId="20577"/>
          <ac:spMkLst>
            <pc:docMk/>
            <pc:sldMk cId="2538419880" sldId="266"/>
            <ac:spMk id="93" creationId="{BB2A9C55-7B69-0750-E028-FDFFD73AF356}"/>
          </ac:spMkLst>
        </pc:spChg>
        <pc:spChg chg="mod">
          <ac:chgData name="vidit garg" userId="8ae30a01eec24d4b" providerId="LiveId" clId="{50FEE7C6-C750-47A3-BD0F-211F1B0ADAAF}" dt="2024-11-19T15:55:14.219" v="1249" actId="1038"/>
          <ac:spMkLst>
            <pc:docMk/>
            <pc:sldMk cId="2538419880" sldId="266"/>
            <ac:spMk id="95" creationId="{74E401BE-51C1-4939-AF47-26AD42401C9C}"/>
          </ac:spMkLst>
        </pc:spChg>
        <pc:spChg chg="mod">
          <ac:chgData name="vidit garg" userId="8ae30a01eec24d4b" providerId="LiveId" clId="{50FEE7C6-C750-47A3-BD0F-211F1B0ADAAF}" dt="2024-11-19T15:40:07.760" v="890" actId="1076"/>
          <ac:spMkLst>
            <pc:docMk/>
            <pc:sldMk cId="2538419880" sldId="266"/>
            <ac:spMk id="98" creationId="{3EA279A8-30ED-4EC9-A520-9D8CF040FB2F}"/>
          </ac:spMkLst>
        </pc:spChg>
        <pc:spChg chg="mod">
          <ac:chgData name="vidit garg" userId="8ae30a01eec24d4b" providerId="LiveId" clId="{50FEE7C6-C750-47A3-BD0F-211F1B0ADAAF}" dt="2024-11-20T06:35:27.487" v="16184" actId="255"/>
          <ac:spMkLst>
            <pc:docMk/>
            <pc:sldMk cId="2538419880" sldId="266"/>
            <ac:spMk id="107" creationId="{3E835EA0-BC31-4015-B4D1-DEDAAB1A73B2}"/>
          </ac:spMkLst>
        </pc:spChg>
        <pc:spChg chg="add mod">
          <ac:chgData name="vidit garg" userId="8ae30a01eec24d4b" providerId="LiveId" clId="{50FEE7C6-C750-47A3-BD0F-211F1B0ADAAF}" dt="2024-11-21T09:07:31.958" v="23716" actId="1076"/>
          <ac:spMkLst>
            <pc:docMk/>
            <pc:sldMk cId="2538419880" sldId="266"/>
            <ac:spMk id="127" creationId="{74461280-AA29-8BD7-8031-355E40FE0C11}"/>
          </ac:spMkLst>
        </pc:spChg>
        <pc:spChg chg="mod">
          <ac:chgData name="vidit garg" userId="8ae30a01eec24d4b" providerId="LiveId" clId="{50FEE7C6-C750-47A3-BD0F-211F1B0ADAAF}" dt="2024-11-19T17:11:53.140" v="3741" actId="20577"/>
          <ac:spMkLst>
            <pc:docMk/>
            <pc:sldMk cId="2538419880" sldId="266"/>
            <ac:spMk id="145" creationId="{4FD1B8EF-A16B-4405-A241-BEEF80D3F533}"/>
          </ac:spMkLst>
        </pc:spChg>
        <pc:spChg chg="mod">
          <ac:chgData name="vidit garg" userId="8ae30a01eec24d4b" providerId="LiveId" clId="{50FEE7C6-C750-47A3-BD0F-211F1B0ADAAF}" dt="2024-11-20T05:07:03.129" v="14405" actId="20577"/>
          <ac:spMkLst>
            <pc:docMk/>
            <pc:sldMk cId="2538419880" sldId="266"/>
            <ac:spMk id="161" creationId="{698E5167-1AB3-43B8-9DA1-7C18B34EE5F9}"/>
          </ac:spMkLst>
        </pc:spChg>
        <pc:spChg chg="add mod">
          <ac:chgData name="vidit garg" userId="8ae30a01eec24d4b" providerId="LiveId" clId="{50FEE7C6-C750-47A3-BD0F-211F1B0ADAAF}" dt="2024-11-19T15:52:29.141" v="1143" actId="1038"/>
          <ac:spMkLst>
            <pc:docMk/>
            <pc:sldMk cId="2538419880" sldId="266"/>
            <ac:spMk id="1024" creationId="{F3379A69-1199-81F4-B4B4-6FEFCAF8C12A}"/>
          </ac:spMkLst>
        </pc:spChg>
        <pc:spChg chg="add mod">
          <ac:chgData name="vidit garg" userId="8ae30a01eec24d4b" providerId="LiveId" clId="{50FEE7C6-C750-47A3-BD0F-211F1B0ADAAF}" dt="2024-11-19T15:56:44.551" v="1351" actId="1035"/>
          <ac:spMkLst>
            <pc:docMk/>
            <pc:sldMk cId="2538419880" sldId="266"/>
            <ac:spMk id="1027" creationId="{CBB7AFEA-6DFE-769D-E93A-7A938B0C0E40}"/>
          </ac:spMkLst>
        </pc:spChg>
        <pc:spChg chg="add mod ord">
          <ac:chgData name="vidit garg" userId="8ae30a01eec24d4b" providerId="LiveId" clId="{50FEE7C6-C750-47A3-BD0F-211F1B0ADAAF}" dt="2024-11-19T16:45:33.824" v="3148" actId="207"/>
          <ac:spMkLst>
            <pc:docMk/>
            <pc:sldMk cId="2538419880" sldId="266"/>
            <ac:spMk id="1031" creationId="{CDA115E7-DA0C-3E6C-472F-6CEAED01EAFA}"/>
          </ac:spMkLst>
        </pc:spChg>
        <pc:spChg chg="add mod">
          <ac:chgData name="vidit garg" userId="8ae30a01eec24d4b" providerId="LiveId" clId="{50FEE7C6-C750-47A3-BD0F-211F1B0ADAAF}" dt="2024-11-19T17:11:23.625" v="3737" actId="2085"/>
          <ac:spMkLst>
            <pc:docMk/>
            <pc:sldMk cId="2538419880" sldId="266"/>
            <ac:spMk id="1045" creationId="{D368F83A-ACCD-C7B8-1E89-341DFCA4BBAA}"/>
          </ac:spMkLst>
        </pc:spChg>
        <pc:spChg chg="add mod">
          <ac:chgData name="vidit garg" userId="8ae30a01eec24d4b" providerId="LiveId" clId="{50FEE7C6-C750-47A3-BD0F-211F1B0ADAAF}" dt="2024-11-19T16:50:27.944" v="3178" actId="1035"/>
          <ac:spMkLst>
            <pc:docMk/>
            <pc:sldMk cId="2538419880" sldId="266"/>
            <ac:spMk id="1046" creationId="{A813C7B5-5A35-14C9-C4E2-183E6CDDB593}"/>
          </ac:spMkLst>
        </pc:spChg>
        <pc:spChg chg="add mod ord">
          <ac:chgData name="vidit garg" userId="8ae30a01eec24d4b" providerId="LiveId" clId="{50FEE7C6-C750-47A3-BD0F-211F1B0ADAAF}" dt="2024-11-19T16:41:06.349" v="3097" actId="1038"/>
          <ac:spMkLst>
            <pc:docMk/>
            <pc:sldMk cId="2538419880" sldId="266"/>
            <ac:spMk id="1047" creationId="{9EC76A2D-8E60-6C06-BF95-8019CDB3D01B}"/>
          </ac:spMkLst>
        </pc:spChg>
        <pc:spChg chg="add mod ord">
          <ac:chgData name="vidit garg" userId="8ae30a01eec24d4b" providerId="LiveId" clId="{50FEE7C6-C750-47A3-BD0F-211F1B0ADAAF}" dt="2024-11-19T16:51:00.958" v="3194" actId="1037"/>
          <ac:spMkLst>
            <pc:docMk/>
            <pc:sldMk cId="2538419880" sldId="266"/>
            <ac:spMk id="1048" creationId="{C56EE72C-F37B-03D5-52D7-F2EFA3457A94}"/>
          </ac:spMkLst>
        </pc:spChg>
        <pc:spChg chg="add mod ord">
          <ac:chgData name="vidit garg" userId="8ae30a01eec24d4b" providerId="LiveId" clId="{50FEE7C6-C750-47A3-BD0F-211F1B0ADAAF}" dt="2024-11-19T17:11:29.761" v="3738" actId="2085"/>
          <ac:spMkLst>
            <pc:docMk/>
            <pc:sldMk cId="2538419880" sldId="266"/>
            <ac:spMk id="1049" creationId="{4D15982E-0262-5C72-2C38-96D8C5AC78ED}"/>
          </ac:spMkLst>
        </pc:spChg>
        <pc:spChg chg="add mod">
          <ac:chgData name="vidit garg" userId="8ae30a01eec24d4b" providerId="LiveId" clId="{50FEE7C6-C750-47A3-BD0F-211F1B0ADAAF}" dt="2024-11-19T17:11:34.740" v="3739" actId="2085"/>
          <ac:spMkLst>
            <pc:docMk/>
            <pc:sldMk cId="2538419880" sldId="266"/>
            <ac:spMk id="1050" creationId="{01461261-5A7A-47BE-E0F4-FC53B84DD943}"/>
          </ac:spMkLst>
        </pc:spChg>
        <pc:spChg chg="add mod">
          <ac:chgData name="vidit garg" userId="8ae30a01eec24d4b" providerId="LiveId" clId="{50FEE7C6-C750-47A3-BD0F-211F1B0ADAAF}" dt="2024-11-19T20:03:27.186" v="13274" actId="1036"/>
          <ac:spMkLst>
            <pc:docMk/>
            <pc:sldMk cId="2538419880" sldId="266"/>
            <ac:spMk id="1055" creationId="{57F15DEB-C00D-C740-4CA9-6A66F5E5737D}"/>
          </ac:spMkLst>
        </pc:spChg>
        <pc:spChg chg="add mod">
          <ac:chgData name="vidit garg" userId="8ae30a01eec24d4b" providerId="LiveId" clId="{50FEE7C6-C750-47A3-BD0F-211F1B0ADAAF}" dt="2024-11-19T20:03:19.431" v="13244" actId="1036"/>
          <ac:spMkLst>
            <pc:docMk/>
            <pc:sldMk cId="2538419880" sldId="266"/>
            <ac:spMk id="1056" creationId="{312A8BC1-11B0-DDBE-4745-9482AEED2D5C}"/>
          </ac:spMkLst>
        </pc:spChg>
        <pc:spChg chg="add mod">
          <ac:chgData name="vidit garg" userId="8ae30a01eec24d4b" providerId="LiveId" clId="{50FEE7C6-C750-47A3-BD0F-211F1B0ADAAF}" dt="2024-11-19T20:03:34.777" v="13278" actId="1036"/>
          <ac:spMkLst>
            <pc:docMk/>
            <pc:sldMk cId="2538419880" sldId="266"/>
            <ac:spMk id="1057" creationId="{25651320-C815-1528-E255-808E7B2C4F3F}"/>
          </ac:spMkLst>
        </pc:spChg>
        <pc:spChg chg="add mod ord">
          <ac:chgData name="vidit garg" userId="8ae30a01eec24d4b" providerId="LiveId" clId="{50FEE7C6-C750-47A3-BD0F-211F1B0ADAAF}" dt="2024-11-19T19:54:42.173" v="13129" actId="1076"/>
          <ac:spMkLst>
            <pc:docMk/>
            <pc:sldMk cId="2538419880" sldId="266"/>
            <ac:spMk id="1058" creationId="{65DBA84F-61C3-11A8-9391-D75037EDFB20}"/>
          </ac:spMkLst>
        </pc:spChg>
        <pc:spChg chg="add mod">
          <ac:chgData name="vidit garg" userId="8ae30a01eec24d4b" providerId="LiveId" clId="{50FEE7C6-C750-47A3-BD0F-211F1B0ADAAF}" dt="2024-11-19T20:02:14.629" v="13228" actId="1076"/>
          <ac:spMkLst>
            <pc:docMk/>
            <pc:sldMk cId="2538419880" sldId="266"/>
            <ac:spMk id="1059" creationId="{F4D07035-3199-E4D7-B263-75C39F514213}"/>
          </ac:spMkLst>
        </pc:spChg>
        <pc:spChg chg="add mod">
          <ac:chgData name="vidit garg" userId="8ae30a01eec24d4b" providerId="LiveId" clId="{50FEE7C6-C750-47A3-BD0F-211F1B0ADAAF}" dt="2024-11-19T17:04:29.074" v="3499" actId="1037"/>
          <ac:spMkLst>
            <pc:docMk/>
            <pc:sldMk cId="2538419880" sldId="266"/>
            <ac:spMk id="1060" creationId="{0563002E-AAB5-9B02-5B2E-6EC0F9170516}"/>
          </ac:spMkLst>
        </pc:spChg>
        <pc:spChg chg="add mod">
          <ac:chgData name="vidit garg" userId="8ae30a01eec24d4b" providerId="LiveId" clId="{50FEE7C6-C750-47A3-BD0F-211F1B0ADAAF}" dt="2024-11-19T17:14:21.931" v="3824" actId="255"/>
          <ac:spMkLst>
            <pc:docMk/>
            <pc:sldMk cId="2538419880" sldId="266"/>
            <ac:spMk id="1061" creationId="{7DBF4C7B-F796-D2DC-7248-0B0D3871964A}"/>
          </ac:spMkLst>
        </pc:spChg>
        <pc:spChg chg="add mod">
          <ac:chgData name="vidit garg" userId="8ae30a01eec24d4b" providerId="LiveId" clId="{50FEE7C6-C750-47A3-BD0F-211F1B0ADAAF}" dt="2024-11-20T06:35:06.001" v="16181" actId="255"/>
          <ac:spMkLst>
            <pc:docMk/>
            <pc:sldMk cId="2538419880" sldId="266"/>
            <ac:spMk id="1064" creationId="{AB1852B5-A841-08D0-4A13-6AD3CD92C872}"/>
          </ac:spMkLst>
        </pc:spChg>
        <pc:spChg chg="add mod ord">
          <ac:chgData name="vidit garg" userId="8ae30a01eec24d4b" providerId="LiveId" clId="{50FEE7C6-C750-47A3-BD0F-211F1B0ADAAF}" dt="2024-11-21T09:10:29.371" v="23741" actId="255"/>
          <ac:spMkLst>
            <pc:docMk/>
            <pc:sldMk cId="2538419880" sldId="266"/>
            <ac:spMk id="1196" creationId="{33868A42-CCAC-A746-5166-E7C2D4E7FFCA}"/>
          </ac:spMkLst>
        </pc:spChg>
        <pc:spChg chg="add mod ord">
          <ac:chgData name="vidit garg" userId="8ae30a01eec24d4b" providerId="LiveId" clId="{50FEE7C6-C750-47A3-BD0F-211F1B0ADAAF}" dt="2024-11-21T09:10:51.039" v="23749" actId="1038"/>
          <ac:spMkLst>
            <pc:docMk/>
            <pc:sldMk cId="2538419880" sldId="266"/>
            <ac:spMk id="1197" creationId="{35815A02-1326-A9B0-781C-1D550B2D7F42}"/>
          </ac:spMkLst>
        </pc:spChg>
        <pc:spChg chg="add mod">
          <ac:chgData name="vidit garg" userId="8ae30a01eec24d4b" providerId="LiveId" clId="{50FEE7C6-C750-47A3-BD0F-211F1B0ADAAF}" dt="2024-11-21T09:10:35.656" v="23742" actId="255"/>
          <ac:spMkLst>
            <pc:docMk/>
            <pc:sldMk cId="2538419880" sldId="266"/>
            <ac:spMk id="1198" creationId="{8C96CA4E-BDE9-05C6-2615-7CD541E6EE7E}"/>
          </ac:spMkLst>
        </pc:spChg>
        <pc:spChg chg="add mod">
          <ac:chgData name="vidit garg" userId="8ae30a01eec24d4b" providerId="LiveId" clId="{50FEE7C6-C750-47A3-BD0F-211F1B0ADAAF}" dt="2024-11-21T09:06:12.607" v="23679" actId="1038"/>
          <ac:spMkLst>
            <pc:docMk/>
            <pc:sldMk cId="2538419880" sldId="266"/>
            <ac:spMk id="1200" creationId="{177BDCCF-EB10-A541-DE82-ACA0D4B2C1F1}"/>
          </ac:spMkLst>
        </pc:spChg>
        <pc:spChg chg="add mod ord">
          <ac:chgData name="vidit garg" userId="8ae30a01eec24d4b" providerId="LiveId" clId="{50FEE7C6-C750-47A3-BD0F-211F1B0ADAAF}" dt="2024-11-19T19:56:11.649" v="13170" actId="1038"/>
          <ac:spMkLst>
            <pc:docMk/>
            <pc:sldMk cId="2538419880" sldId="266"/>
            <ac:spMk id="1201" creationId="{3C143ABD-D933-B1FE-8A87-F5212ADF1634}"/>
          </ac:spMkLst>
        </pc:spChg>
        <pc:spChg chg="add mod">
          <ac:chgData name="vidit garg" userId="8ae30a01eec24d4b" providerId="LiveId" clId="{50FEE7C6-C750-47A3-BD0F-211F1B0ADAAF}" dt="2024-11-19T19:55:51.366" v="13143" actId="14100"/>
          <ac:spMkLst>
            <pc:docMk/>
            <pc:sldMk cId="2538419880" sldId="266"/>
            <ac:spMk id="1203" creationId="{C8AC6239-026F-9B48-FC39-22F8EABDEDB1}"/>
          </ac:spMkLst>
        </pc:spChg>
        <pc:spChg chg="add mod">
          <ac:chgData name="vidit garg" userId="8ae30a01eec24d4b" providerId="LiveId" clId="{50FEE7C6-C750-47A3-BD0F-211F1B0ADAAF}" dt="2024-11-19T19:51:04.345" v="13067" actId="1038"/>
          <ac:spMkLst>
            <pc:docMk/>
            <pc:sldMk cId="2538419880" sldId="266"/>
            <ac:spMk id="1204" creationId="{B31EBA35-C3C0-1CDF-0A85-6E4F8AF42C81}"/>
          </ac:spMkLst>
        </pc:spChg>
        <pc:spChg chg="add mod">
          <ac:chgData name="vidit garg" userId="8ae30a01eec24d4b" providerId="LiveId" clId="{50FEE7C6-C750-47A3-BD0F-211F1B0ADAAF}" dt="2024-11-20T06:31:14.564" v="16178" actId="1076"/>
          <ac:spMkLst>
            <pc:docMk/>
            <pc:sldMk cId="2538419880" sldId="266"/>
            <ac:spMk id="1205" creationId="{D8F8AF74-E491-A7B6-0221-D2A6312A3F60}"/>
          </ac:spMkLst>
        </pc:spChg>
        <pc:spChg chg="add mod">
          <ac:chgData name="vidit garg" userId="8ae30a01eec24d4b" providerId="LiveId" clId="{50FEE7C6-C750-47A3-BD0F-211F1B0ADAAF}" dt="2024-11-19T20:03:09.985" v="13239" actId="1036"/>
          <ac:spMkLst>
            <pc:docMk/>
            <pc:sldMk cId="2538419880" sldId="266"/>
            <ac:spMk id="1214" creationId="{D51C5CEB-1B5D-6E68-6494-EFFB8375FF06}"/>
          </ac:spMkLst>
        </pc:spChg>
        <pc:grpChg chg="mod">
          <ac:chgData name="vidit garg" userId="8ae30a01eec24d4b" providerId="LiveId" clId="{50FEE7C6-C750-47A3-BD0F-211F1B0ADAAF}" dt="2024-11-19T15:52:39.704" v="1165" actId="1037"/>
          <ac:grpSpMkLst>
            <pc:docMk/>
            <pc:sldMk cId="2538419880" sldId="266"/>
            <ac:grpSpMk id="9" creationId="{CA245985-8731-478B-872E-EA4C621ED775}"/>
          </ac:grpSpMkLst>
        </pc:grpChg>
        <pc:grpChg chg="add del">
          <ac:chgData name="vidit garg" userId="8ae30a01eec24d4b" providerId="LiveId" clId="{50FEE7C6-C750-47A3-BD0F-211F1B0ADAAF}" dt="2024-11-19T15:59:00.224" v="1443" actId="478"/>
          <ac:grpSpMkLst>
            <pc:docMk/>
            <pc:sldMk cId="2538419880" sldId="266"/>
            <ac:grpSpMk id="66" creationId="{D50EE0C3-4EEE-3135-88E5-12F2E0D0234E}"/>
          </ac:grpSpMkLst>
        </pc:grpChg>
        <pc:grpChg chg="mod">
          <ac:chgData name="vidit garg" userId="8ae30a01eec24d4b" providerId="LiveId" clId="{50FEE7C6-C750-47A3-BD0F-211F1B0ADAAF}" dt="2024-11-21T09:07:58.614" v="23722" actId="1076"/>
          <ac:grpSpMkLst>
            <pc:docMk/>
            <pc:sldMk cId="2538419880" sldId="266"/>
            <ac:grpSpMk id="89" creationId="{CAFAC42B-CEC8-E4AC-1E39-A07E03EF8C06}"/>
          </ac:grpSpMkLst>
        </pc:grpChg>
        <pc:graphicFrameChg chg="mod">
          <ac:chgData name="vidit garg" userId="8ae30a01eec24d4b" providerId="LiveId" clId="{50FEE7C6-C750-47A3-BD0F-211F1B0ADAAF}" dt="2024-11-21T09:04:42.483" v="23640"/>
          <ac:graphicFrameMkLst>
            <pc:docMk/>
            <pc:sldMk cId="2538419880" sldId="266"/>
            <ac:graphicFrameMk id="47" creationId="{C0690247-CEA1-2E69-A952-7CF8E8931527}"/>
          </ac:graphicFrameMkLst>
        </pc:graphicFrameChg>
        <pc:graphicFrameChg chg="mod">
          <ac:chgData name="vidit garg" userId="8ae30a01eec24d4b" providerId="LiveId" clId="{50FEE7C6-C750-47A3-BD0F-211F1B0ADAAF}" dt="2024-11-21T09:52:32.545" v="24249" actId="1037"/>
          <ac:graphicFrameMkLst>
            <pc:docMk/>
            <pc:sldMk cId="2538419880" sldId="266"/>
            <ac:graphicFrameMk id="53" creationId="{7008C349-F3DA-FF1D-4520-9B7173CE8B98}"/>
          </ac:graphicFrameMkLst>
        </pc:graphicFrameChg>
        <pc:graphicFrameChg chg="add mod">
          <ac:chgData name="vidit garg" userId="8ae30a01eec24d4b" providerId="LiveId" clId="{50FEE7C6-C750-47A3-BD0F-211F1B0ADAAF}" dt="2024-11-21T09:22:44.879" v="23752" actId="1957"/>
          <ac:graphicFrameMkLst>
            <pc:docMk/>
            <pc:sldMk cId="2538419880" sldId="266"/>
            <ac:graphicFrameMk id="97" creationId="{C55C451C-B0A7-ED4E-2209-01124F68CD37}"/>
          </ac:graphicFrameMkLst>
        </pc:graphicFrameChg>
        <pc:graphicFrameChg chg="add mod">
          <ac:chgData name="vidit garg" userId="8ae30a01eec24d4b" providerId="LiveId" clId="{50FEE7C6-C750-47A3-BD0F-211F1B0ADAAF}" dt="2024-11-21T09:28:16.334" v="23781" actId="14100"/>
          <ac:graphicFrameMkLst>
            <pc:docMk/>
            <pc:sldMk cId="2538419880" sldId="266"/>
            <ac:graphicFrameMk id="103" creationId="{5C84AC72-9964-F6AE-A88A-03F227A00580}"/>
          </ac:graphicFrameMkLst>
        </pc:graphicFrameChg>
        <pc:picChg chg="mod">
          <ac:chgData name="vidit garg" userId="8ae30a01eec24d4b" providerId="LiveId" clId="{50FEE7C6-C750-47A3-BD0F-211F1B0ADAAF}" dt="2024-11-19T16:01:10.072" v="1701" actId="14100"/>
          <ac:picMkLst>
            <pc:docMk/>
            <pc:sldMk cId="2538419880" sldId="266"/>
            <ac:picMk id="7" creationId="{D98F3042-AB6D-46D0-26B7-CFE1474C4D43}"/>
          </ac:picMkLst>
        </pc:picChg>
        <pc:picChg chg="mod">
          <ac:chgData name="vidit garg" userId="8ae30a01eec24d4b" providerId="LiveId" clId="{50FEE7C6-C750-47A3-BD0F-211F1B0ADAAF}" dt="2024-11-19T16:01:10.072" v="1701" actId="14100"/>
          <ac:picMkLst>
            <pc:docMk/>
            <pc:sldMk cId="2538419880" sldId="266"/>
            <ac:picMk id="12" creationId="{7F457E08-AE0C-AA87-3D77-A8D835C559FC}"/>
          </ac:picMkLst>
        </pc:picChg>
        <pc:picChg chg="mod">
          <ac:chgData name="vidit garg" userId="8ae30a01eec24d4b" providerId="LiveId" clId="{50FEE7C6-C750-47A3-BD0F-211F1B0ADAAF}" dt="2024-11-19T16:01:10.072" v="1701" actId="14100"/>
          <ac:picMkLst>
            <pc:docMk/>
            <pc:sldMk cId="2538419880" sldId="266"/>
            <ac:picMk id="15" creationId="{034BC2EE-1DB4-2288-3DCD-D8D1444E9488}"/>
          </ac:picMkLst>
        </pc:picChg>
        <pc:picChg chg="add del mod">
          <ac:chgData name="vidit garg" userId="8ae30a01eec24d4b" providerId="LiveId" clId="{50FEE7C6-C750-47A3-BD0F-211F1B0ADAAF}" dt="2024-11-20T04:51:56.700" v="14209" actId="478"/>
          <ac:picMkLst>
            <pc:docMk/>
            <pc:sldMk cId="2538419880" sldId="266"/>
            <ac:picMk id="52" creationId="{A4CB8FB8-968F-8662-46F1-729B547AAC8B}"/>
          </ac:picMkLst>
        </pc:picChg>
        <pc:picChg chg="add mod">
          <ac:chgData name="vidit garg" userId="8ae30a01eec24d4b" providerId="LiveId" clId="{50FEE7C6-C750-47A3-BD0F-211F1B0ADAAF}" dt="2024-11-20T08:49:44.731" v="16475"/>
          <ac:picMkLst>
            <pc:docMk/>
            <pc:sldMk cId="2538419880" sldId="266"/>
            <ac:picMk id="70" creationId="{7041A5EA-579C-BC57-18DD-C3B8E6AA1EC8}"/>
          </ac:picMkLst>
        </pc:picChg>
        <pc:picChg chg="add mod">
          <ac:chgData name="vidit garg" userId="8ae30a01eec24d4b" providerId="LiveId" clId="{50FEE7C6-C750-47A3-BD0F-211F1B0ADAAF}" dt="2024-11-20T06:40:29.985" v="16190" actId="1037"/>
          <ac:picMkLst>
            <pc:docMk/>
            <pc:sldMk cId="2538419880" sldId="266"/>
            <ac:picMk id="85" creationId="{48BFAFAC-1354-21A3-586C-759994C01C29}"/>
          </ac:picMkLst>
        </pc:picChg>
        <pc:picChg chg="add mod">
          <ac:chgData name="vidit garg" userId="8ae30a01eec24d4b" providerId="LiveId" clId="{50FEE7C6-C750-47A3-BD0F-211F1B0ADAAF}" dt="2024-11-19T15:52:29.141" v="1143" actId="1038"/>
          <ac:picMkLst>
            <pc:docMk/>
            <pc:sldMk cId="2538419880" sldId="266"/>
            <ac:picMk id="99" creationId="{8005DB48-6919-A70A-386D-5C5D992C2E25}"/>
          </ac:picMkLst>
        </pc:picChg>
        <pc:picChg chg="add mod">
          <ac:chgData name="vidit garg" userId="8ae30a01eec24d4b" providerId="LiveId" clId="{50FEE7C6-C750-47A3-BD0F-211F1B0ADAAF}" dt="2024-11-19T15:52:29.141" v="1143" actId="1038"/>
          <ac:picMkLst>
            <pc:docMk/>
            <pc:sldMk cId="2538419880" sldId="266"/>
            <ac:picMk id="104" creationId="{E9427E8E-948D-902D-4ADB-F56F9C729AA2}"/>
          </ac:picMkLst>
        </pc:picChg>
        <pc:picChg chg="add mod">
          <ac:chgData name="vidit garg" userId="8ae30a01eec24d4b" providerId="LiveId" clId="{50FEE7C6-C750-47A3-BD0F-211F1B0ADAAF}" dt="2024-11-19T15:52:29.141" v="1143" actId="1038"/>
          <ac:picMkLst>
            <pc:docMk/>
            <pc:sldMk cId="2538419880" sldId="266"/>
            <ac:picMk id="106" creationId="{5E56081E-B57F-9E96-D823-7221B1E9EAF1}"/>
          </ac:picMkLst>
        </pc:picChg>
        <pc:picChg chg="add mod">
          <ac:chgData name="vidit garg" userId="8ae30a01eec24d4b" providerId="LiveId" clId="{50FEE7C6-C750-47A3-BD0F-211F1B0ADAAF}" dt="2024-11-19T15:52:29.141" v="1143" actId="1038"/>
          <ac:picMkLst>
            <pc:docMk/>
            <pc:sldMk cId="2538419880" sldId="266"/>
            <ac:picMk id="111" creationId="{12E6F454-279E-C90C-EEB6-1C91AEA0F8BB}"/>
          </ac:picMkLst>
        </pc:picChg>
        <pc:picChg chg="add mod">
          <ac:chgData name="vidit garg" userId="8ae30a01eec24d4b" providerId="LiveId" clId="{50FEE7C6-C750-47A3-BD0F-211F1B0ADAAF}" dt="2024-11-19T15:52:29.141" v="1143" actId="1038"/>
          <ac:picMkLst>
            <pc:docMk/>
            <pc:sldMk cId="2538419880" sldId="266"/>
            <ac:picMk id="116" creationId="{E5C2BB49-DA05-38CE-2DDF-4CB7E1C4269B}"/>
          </ac:picMkLst>
        </pc:picChg>
        <pc:picChg chg="add mod">
          <ac:chgData name="vidit garg" userId="8ae30a01eec24d4b" providerId="LiveId" clId="{50FEE7C6-C750-47A3-BD0F-211F1B0ADAAF}" dt="2024-11-19T15:55:28.681" v="1263" actId="1035"/>
          <ac:picMkLst>
            <pc:docMk/>
            <pc:sldMk cId="2538419880" sldId="266"/>
            <ac:picMk id="118" creationId="{3142BE48-9173-EA50-0BE6-75DEC491AF2B}"/>
          </ac:picMkLst>
        </pc:picChg>
        <pc:picChg chg="add mod">
          <ac:chgData name="vidit garg" userId="8ae30a01eec24d4b" providerId="LiveId" clId="{50FEE7C6-C750-47A3-BD0F-211F1B0ADAAF}" dt="2024-11-19T15:52:29.141" v="1143" actId="1038"/>
          <ac:picMkLst>
            <pc:docMk/>
            <pc:sldMk cId="2538419880" sldId="266"/>
            <ac:picMk id="120" creationId="{33D7D75F-5A57-AEAE-F6D0-FD9F4E47DEB8}"/>
          </ac:picMkLst>
        </pc:picChg>
        <pc:picChg chg="add mod">
          <ac:chgData name="vidit garg" userId="8ae30a01eec24d4b" providerId="LiveId" clId="{50FEE7C6-C750-47A3-BD0F-211F1B0ADAAF}" dt="2024-11-19T15:52:29.141" v="1143" actId="1038"/>
          <ac:picMkLst>
            <pc:docMk/>
            <pc:sldMk cId="2538419880" sldId="266"/>
            <ac:picMk id="123" creationId="{0F24EAEA-A86E-ECED-586A-C65B43917454}"/>
          </ac:picMkLst>
        </pc:picChg>
        <pc:picChg chg="add mod">
          <ac:chgData name="vidit garg" userId="8ae30a01eec24d4b" providerId="LiveId" clId="{50FEE7C6-C750-47A3-BD0F-211F1B0ADAAF}" dt="2024-11-19T20:02:56.819" v="13234" actId="1035"/>
          <ac:picMkLst>
            <pc:docMk/>
            <pc:sldMk cId="2538419880" sldId="266"/>
            <ac:picMk id="1035" creationId="{51252CB6-D6DB-B68A-43EE-254FD930AA5A}"/>
          </ac:picMkLst>
        </pc:picChg>
        <pc:picChg chg="add mod">
          <ac:chgData name="vidit garg" userId="8ae30a01eec24d4b" providerId="LiveId" clId="{50FEE7C6-C750-47A3-BD0F-211F1B0ADAAF}" dt="2024-11-19T20:02:46.313" v="13232" actId="1035"/>
          <ac:picMkLst>
            <pc:docMk/>
            <pc:sldMk cId="2538419880" sldId="266"/>
            <ac:picMk id="1038" creationId="{956E584C-0EBE-7682-2187-CF43CBF378D3}"/>
          </ac:picMkLst>
        </pc:picChg>
        <pc:picChg chg="add mod">
          <ac:chgData name="vidit garg" userId="8ae30a01eec24d4b" providerId="LiveId" clId="{50FEE7C6-C750-47A3-BD0F-211F1B0ADAAF}" dt="2024-11-19T20:02:51.300" v="13233" actId="1035"/>
          <ac:picMkLst>
            <pc:docMk/>
            <pc:sldMk cId="2538419880" sldId="266"/>
            <ac:picMk id="1054" creationId="{3CE26005-EC44-5B4F-784C-84483C7B0460}"/>
          </ac:picMkLst>
        </pc:picChg>
        <pc:picChg chg="add mod">
          <ac:chgData name="vidit garg" userId="8ae30a01eec24d4b" providerId="LiveId" clId="{50FEE7C6-C750-47A3-BD0F-211F1B0ADAAF}" dt="2024-11-19T19:55:58.466" v="13168" actId="1036"/>
          <ac:picMkLst>
            <pc:docMk/>
            <pc:sldMk cId="2538419880" sldId="266"/>
            <ac:picMk id="1207" creationId="{BC0C57EC-B88C-C968-2674-E69D04DF849A}"/>
          </ac:picMkLst>
        </pc:picChg>
        <pc:picChg chg="add mod">
          <ac:chgData name="vidit garg" userId="8ae30a01eec24d4b" providerId="LiveId" clId="{50FEE7C6-C750-47A3-BD0F-211F1B0ADAAF}" dt="2024-11-19T19:57:45.901" v="13176" actId="1076"/>
          <ac:picMkLst>
            <pc:docMk/>
            <pc:sldMk cId="2538419880" sldId="266"/>
            <ac:picMk id="1209" creationId="{27A4AFA3-3D8C-3F98-B784-416FEFB20773}"/>
          </ac:picMkLst>
        </pc:picChg>
        <pc:picChg chg="add mod">
          <ac:chgData name="vidit garg" userId="8ae30a01eec24d4b" providerId="LiveId" clId="{50FEE7C6-C750-47A3-BD0F-211F1B0ADAAF}" dt="2024-11-19T19:58:57.683" v="13181" actId="14100"/>
          <ac:picMkLst>
            <pc:docMk/>
            <pc:sldMk cId="2538419880" sldId="266"/>
            <ac:picMk id="1211" creationId="{360C9183-232F-2E27-C950-8AC4140E7A13}"/>
          </ac:picMkLst>
        </pc:picChg>
        <pc:picChg chg="add mod">
          <ac:chgData name="vidit garg" userId="8ae30a01eec24d4b" providerId="LiveId" clId="{50FEE7C6-C750-47A3-BD0F-211F1B0ADAAF}" dt="2024-11-19T20:00:39.796" v="13197" actId="1076"/>
          <ac:picMkLst>
            <pc:docMk/>
            <pc:sldMk cId="2538419880" sldId="266"/>
            <ac:picMk id="1213" creationId="{D43441A0-650D-BF84-3E0D-3E551E317DD3}"/>
          </ac:picMkLst>
        </pc:picChg>
        <pc:cxnChg chg="add mod">
          <ac:chgData name="vidit garg" userId="8ae30a01eec24d4b" providerId="LiveId" clId="{50FEE7C6-C750-47A3-BD0F-211F1B0ADAAF}" dt="2024-11-20T04:17:03.391" v="13341" actId="208"/>
          <ac:cxnSpMkLst>
            <pc:docMk/>
            <pc:sldMk cId="2538419880" sldId="266"/>
            <ac:cxnSpMk id="4" creationId="{9F7D828B-DABB-078E-026D-A6F8ECCA83A6}"/>
          </ac:cxnSpMkLst>
        </pc:cxnChg>
        <pc:cxnChg chg="add del mod">
          <ac:chgData name="vidit garg" userId="8ae30a01eec24d4b" providerId="LiveId" clId="{50FEE7C6-C750-47A3-BD0F-211F1B0ADAAF}" dt="2024-11-20T04:17:21.217" v="13343" actId="478"/>
          <ac:cxnSpMkLst>
            <pc:docMk/>
            <pc:sldMk cId="2538419880" sldId="266"/>
            <ac:cxnSpMk id="8" creationId="{E99D266C-E427-B1E0-AA65-184DF6195D4C}"/>
          </ac:cxnSpMkLst>
        </pc:cxnChg>
        <pc:cxnChg chg="add mod">
          <ac:chgData name="vidit garg" userId="8ae30a01eec24d4b" providerId="LiveId" clId="{50FEE7C6-C750-47A3-BD0F-211F1B0ADAAF}" dt="2024-11-20T04:17:48.744" v="13345" actId="208"/>
          <ac:cxnSpMkLst>
            <pc:docMk/>
            <pc:sldMk cId="2538419880" sldId="266"/>
            <ac:cxnSpMk id="27" creationId="{A8404C06-E23A-E769-9876-90B719D89FBA}"/>
          </ac:cxnSpMkLst>
        </pc:cxnChg>
        <pc:cxnChg chg="add mod">
          <ac:chgData name="vidit garg" userId="8ae30a01eec24d4b" providerId="LiveId" clId="{50FEE7C6-C750-47A3-BD0F-211F1B0ADAAF}" dt="2024-11-20T04:37:03.974" v="13764" actId="1076"/>
          <ac:cxnSpMkLst>
            <pc:docMk/>
            <pc:sldMk cId="2538419880" sldId="266"/>
            <ac:cxnSpMk id="46" creationId="{DEB17336-F80E-9AC6-F455-FE4E4EE7EB13}"/>
          </ac:cxnSpMkLst>
        </pc:cxnChg>
        <pc:cxnChg chg="mod">
          <ac:chgData name="vidit garg" userId="8ae30a01eec24d4b" providerId="LiveId" clId="{50FEE7C6-C750-47A3-BD0F-211F1B0ADAAF}" dt="2024-11-19T15:59:15.982" v="1445" actId="692"/>
          <ac:cxnSpMkLst>
            <pc:docMk/>
            <pc:sldMk cId="2538419880" sldId="266"/>
            <ac:cxnSpMk id="49" creationId="{3F2EF97A-2438-0C6C-E404-2718028145EA}"/>
          </ac:cxnSpMkLst>
        </pc:cxnChg>
        <pc:cxnChg chg="mod">
          <ac:chgData name="vidit garg" userId="8ae30a01eec24d4b" providerId="LiveId" clId="{50FEE7C6-C750-47A3-BD0F-211F1B0ADAAF}" dt="2024-11-19T15:40:44.498" v="893" actId="1076"/>
          <ac:cxnSpMkLst>
            <pc:docMk/>
            <pc:sldMk cId="2538419880" sldId="266"/>
            <ac:cxnSpMk id="58" creationId="{2F8E5EE7-C920-47B9-C804-9E6C480CE1C7}"/>
          </ac:cxnSpMkLst>
        </pc:cxnChg>
        <pc:cxnChg chg="mod">
          <ac:chgData name="vidit garg" userId="8ae30a01eec24d4b" providerId="LiveId" clId="{50FEE7C6-C750-47A3-BD0F-211F1B0ADAAF}" dt="2024-11-21T09:52:15.819" v="24227" actId="1038"/>
          <ac:cxnSpMkLst>
            <pc:docMk/>
            <pc:sldMk cId="2538419880" sldId="266"/>
            <ac:cxnSpMk id="90" creationId="{8E6F7403-7215-11A7-13C8-2F28E52C604C}"/>
          </ac:cxnSpMkLst>
        </pc:cxnChg>
        <pc:cxnChg chg="mod">
          <ac:chgData name="vidit garg" userId="8ae30a01eec24d4b" providerId="LiveId" clId="{50FEE7C6-C750-47A3-BD0F-211F1B0ADAAF}" dt="2024-11-19T20:07:08.984" v="13281" actId="14100"/>
          <ac:cxnSpMkLst>
            <pc:docMk/>
            <pc:sldMk cId="2538419880" sldId="266"/>
            <ac:cxnSpMk id="100" creationId="{A78E32EA-44E1-4DCF-3F02-F87A1D7A9CAF}"/>
          </ac:cxnSpMkLst>
        </pc:cxnChg>
        <pc:cxnChg chg="add mod">
          <ac:chgData name="vidit garg" userId="8ae30a01eec24d4b" providerId="LiveId" clId="{50FEE7C6-C750-47A3-BD0F-211F1B0ADAAF}" dt="2024-11-21T09:02:11.416" v="23623" actId="208"/>
          <ac:cxnSpMkLst>
            <pc:docMk/>
            <pc:sldMk cId="2538419880" sldId="266"/>
            <ac:cxnSpMk id="1063" creationId="{10D50FDE-F929-3B30-205E-6BB6CBA10B49}"/>
          </ac:cxnSpMkLst>
        </pc:cxnChg>
      </pc:sldChg>
      <pc:sldChg chg="del">
        <pc:chgData name="vidit garg" userId="8ae30a01eec24d4b" providerId="LiveId" clId="{50FEE7C6-C750-47A3-BD0F-211F1B0ADAAF}" dt="2024-11-20T18:20:34.111" v="22705" actId="47"/>
        <pc:sldMkLst>
          <pc:docMk/>
          <pc:sldMk cId="2041140833" sldId="267"/>
        </pc:sldMkLst>
      </pc:sldChg>
      <pc:sldChg chg="del">
        <pc:chgData name="vidit garg" userId="8ae30a01eec24d4b" providerId="LiveId" clId="{50FEE7C6-C750-47A3-BD0F-211F1B0ADAAF}" dt="2024-11-21T04:41:07.032" v="23087" actId="47"/>
        <pc:sldMkLst>
          <pc:docMk/>
          <pc:sldMk cId="3512553537" sldId="268"/>
        </pc:sldMkLst>
      </pc:sldChg>
      <pc:sldChg chg="del">
        <pc:chgData name="vidit garg" userId="8ae30a01eec24d4b" providerId="LiveId" clId="{50FEE7C6-C750-47A3-BD0F-211F1B0ADAAF}" dt="2024-11-20T18:20:45.761" v="22706" actId="47"/>
        <pc:sldMkLst>
          <pc:docMk/>
          <pc:sldMk cId="749810084" sldId="270"/>
        </pc:sldMkLst>
      </pc:sldChg>
      <pc:sldChg chg="addSp modSp mod modNotesTx">
        <pc:chgData name="vidit garg" userId="8ae30a01eec24d4b" providerId="LiveId" clId="{50FEE7C6-C750-47A3-BD0F-211F1B0ADAAF}" dt="2024-11-21T09:36:54.082" v="23916" actId="20577"/>
        <pc:sldMkLst>
          <pc:docMk/>
          <pc:sldMk cId="2905911514" sldId="271"/>
        </pc:sldMkLst>
        <pc:spChg chg="add mod">
          <ac:chgData name="vidit garg" userId="8ae30a01eec24d4b" providerId="LiveId" clId="{50FEE7C6-C750-47A3-BD0F-211F1B0ADAAF}" dt="2024-11-21T04:03:01.687" v="22956" actId="693"/>
          <ac:spMkLst>
            <pc:docMk/>
            <pc:sldMk cId="2905911514" sldId="271"/>
            <ac:spMk id="2" creationId="{AD076F5E-5823-C9CB-62AD-EE753603E134}"/>
          </ac:spMkLst>
        </pc:spChg>
        <pc:spChg chg="mod">
          <ac:chgData name="vidit garg" userId="8ae30a01eec24d4b" providerId="LiveId" clId="{50FEE7C6-C750-47A3-BD0F-211F1B0ADAAF}" dt="2024-11-21T09:35:43.663" v="23895" actId="207"/>
          <ac:spMkLst>
            <pc:docMk/>
            <pc:sldMk cId="2905911514" sldId="271"/>
            <ac:spMk id="29" creationId="{7769E5AE-334B-307D-68D3-1A286CF2CBC5}"/>
          </ac:spMkLst>
        </pc:spChg>
        <pc:spChg chg="mod">
          <ac:chgData name="vidit garg" userId="8ae30a01eec24d4b" providerId="LiveId" clId="{50FEE7C6-C750-47A3-BD0F-211F1B0ADAAF}" dt="2024-11-21T09:36:28.968" v="23914" actId="2711"/>
          <ac:spMkLst>
            <pc:docMk/>
            <pc:sldMk cId="2905911514" sldId="271"/>
            <ac:spMk id="40" creationId="{8F72633B-B202-DAA4-19FA-78937CCFCC5D}"/>
          </ac:spMkLst>
        </pc:spChg>
        <pc:spChg chg="mod">
          <ac:chgData name="vidit garg" userId="8ae30a01eec24d4b" providerId="LiveId" clId="{50FEE7C6-C750-47A3-BD0F-211F1B0ADAAF}" dt="2024-11-21T09:35:02.962" v="23887" actId="207"/>
          <ac:spMkLst>
            <pc:docMk/>
            <pc:sldMk cId="2905911514" sldId="271"/>
            <ac:spMk id="51" creationId="{7A88F1E2-63F0-6512-F9F1-6C7FAD316E8D}"/>
          </ac:spMkLst>
        </pc:spChg>
        <pc:spChg chg="mod">
          <ac:chgData name="vidit garg" userId="8ae30a01eec24d4b" providerId="LiveId" clId="{50FEE7C6-C750-47A3-BD0F-211F1B0ADAAF}" dt="2024-11-21T09:36:54.082" v="23916" actId="20577"/>
          <ac:spMkLst>
            <pc:docMk/>
            <pc:sldMk cId="2905911514" sldId="271"/>
            <ac:spMk id="65" creationId="{B483D8F5-03FC-120A-E91B-D4F99F42F9AA}"/>
          </ac:spMkLst>
        </pc:spChg>
        <pc:spChg chg="mod">
          <ac:chgData name="vidit garg" userId="8ae30a01eec24d4b" providerId="LiveId" clId="{50FEE7C6-C750-47A3-BD0F-211F1B0ADAAF}" dt="2024-11-21T09:35:18.048" v="23891" actId="20577"/>
          <ac:spMkLst>
            <pc:docMk/>
            <pc:sldMk cId="2905911514" sldId="271"/>
            <ac:spMk id="69" creationId="{FE63D47B-FAA3-8194-E952-F347761127B5}"/>
          </ac:spMkLst>
        </pc:spChg>
      </pc:sldChg>
      <pc:sldChg chg="addSp delSp modSp mod ord">
        <pc:chgData name="vidit garg" userId="8ae30a01eec24d4b" providerId="LiveId" clId="{50FEE7C6-C750-47A3-BD0F-211F1B0ADAAF}" dt="2024-11-20T18:24:32.640" v="22716"/>
        <pc:sldMkLst>
          <pc:docMk/>
          <pc:sldMk cId="726225029" sldId="272"/>
        </pc:sldMkLst>
        <pc:spChg chg="add mod">
          <ac:chgData name="vidit garg" userId="8ae30a01eec24d4b" providerId="LiveId" clId="{50FEE7C6-C750-47A3-BD0F-211F1B0ADAAF}" dt="2024-11-20T05:14:10.883" v="15134"/>
          <ac:spMkLst>
            <pc:docMk/>
            <pc:sldMk cId="726225029" sldId="272"/>
            <ac:spMk id="2" creationId="{0DA8CA80-319A-EBA5-FC37-8947F20110A8}"/>
          </ac:spMkLst>
        </pc:spChg>
        <pc:spChg chg="add del mod">
          <ac:chgData name="vidit garg" userId="8ae30a01eec24d4b" providerId="LiveId" clId="{50FEE7C6-C750-47A3-BD0F-211F1B0ADAAF}" dt="2024-11-20T17:59:34.914" v="22291" actId="478"/>
          <ac:spMkLst>
            <pc:docMk/>
            <pc:sldMk cId="726225029" sldId="272"/>
            <ac:spMk id="4" creationId="{475EA851-C6EA-3070-EA13-F1269C66117E}"/>
          </ac:spMkLst>
        </pc:spChg>
        <pc:spChg chg="add del mod">
          <ac:chgData name="vidit garg" userId="8ae30a01eec24d4b" providerId="LiveId" clId="{50FEE7C6-C750-47A3-BD0F-211F1B0ADAAF}" dt="2024-11-20T17:59:40.492" v="22292" actId="478"/>
          <ac:spMkLst>
            <pc:docMk/>
            <pc:sldMk cId="726225029" sldId="272"/>
            <ac:spMk id="7" creationId="{519291A0-24C6-83EF-6134-C3579D905C35}"/>
          </ac:spMkLst>
        </pc:spChg>
        <pc:spChg chg="add del mod">
          <ac:chgData name="vidit garg" userId="8ae30a01eec24d4b" providerId="LiveId" clId="{50FEE7C6-C750-47A3-BD0F-211F1B0ADAAF}" dt="2024-11-20T17:59:42.388" v="22293" actId="478"/>
          <ac:spMkLst>
            <pc:docMk/>
            <pc:sldMk cId="726225029" sldId="272"/>
            <ac:spMk id="8" creationId="{69AFC297-AEEC-F3D3-232F-6B2F3E7D67D6}"/>
          </ac:spMkLst>
        </pc:spChg>
        <pc:spChg chg="add del mod">
          <ac:chgData name="vidit garg" userId="8ae30a01eec24d4b" providerId="LiveId" clId="{50FEE7C6-C750-47A3-BD0F-211F1B0ADAAF}" dt="2024-11-20T17:59:44.188" v="22294" actId="478"/>
          <ac:spMkLst>
            <pc:docMk/>
            <pc:sldMk cId="726225029" sldId="272"/>
            <ac:spMk id="9" creationId="{6127354B-C1A1-2D05-53DD-40A99717A548}"/>
          </ac:spMkLst>
        </pc:spChg>
        <pc:spChg chg="add del mod">
          <ac:chgData name="vidit garg" userId="8ae30a01eec24d4b" providerId="LiveId" clId="{50FEE7C6-C750-47A3-BD0F-211F1B0ADAAF}" dt="2024-11-20T17:59:47.520" v="22295" actId="478"/>
          <ac:spMkLst>
            <pc:docMk/>
            <pc:sldMk cId="726225029" sldId="272"/>
            <ac:spMk id="10" creationId="{55A6B164-3711-1FEB-08F7-0E8C5FE459EB}"/>
          </ac:spMkLst>
        </pc:spChg>
        <pc:spChg chg="add mod">
          <ac:chgData name="vidit garg" userId="8ae30a01eec24d4b" providerId="LiveId" clId="{50FEE7C6-C750-47A3-BD0F-211F1B0ADAAF}" dt="2024-11-20T18:01:16.835" v="22326" actId="1038"/>
          <ac:spMkLst>
            <pc:docMk/>
            <pc:sldMk cId="726225029" sldId="272"/>
            <ac:spMk id="11" creationId="{3DDBBC84-1444-0694-2CDB-4D156D50A69E}"/>
          </ac:spMkLst>
        </pc:spChg>
        <pc:spChg chg="add mod">
          <ac:chgData name="vidit garg" userId="8ae30a01eec24d4b" providerId="LiveId" clId="{50FEE7C6-C750-47A3-BD0F-211F1B0ADAAF}" dt="2024-11-20T06:02:30.852" v="15612" actId="14100"/>
          <ac:spMkLst>
            <pc:docMk/>
            <pc:sldMk cId="726225029" sldId="272"/>
            <ac:spMk id="28" creationId="{CADD4640-F61A-93E8-3642-E6663F9A4220}"/>
          </ac:spMkLst>
        </pc:spChg>
        <pc:spChg chg="mod">
          <ac:chgData name="vidit garg" userId="8ae30a01eec24d4b" providerId="LiveId" clId="{50FEE7C6-C750-47A3-BD0F-211F1B0ADAAF}" dt="2024-11-20T13:22:50.352" v="16622" actId="1076"/>
          <ac:spMkLst>
            <pc:docMk/>
            <pc:sldMk cId="726225029" sldId="272"/>
            <ac:spMk id="29" creationId="{A99F7AE5-07D3-6F2C-F3D2-6123D2CC57DF}"/>
          </ac:spMkLst>
        </pc:spChg>
        <pc:spChg chg="mod">
          <ac:chgData name="vidit garg" userId="8ae30a01eec24d4b" providerId="LiveId" clId="{50FEE7C6-C750-47A3-BD0F-211F1B0ADAAF}" dt="2024-11-20T04:32:47.766" v="13761" actId="2711"/>
          <ac:spMkLst>
            <pc:docMk/>
            <pc:sldMk cId="726225029" sldId="272"/>
            <ac:spMk id="30" creationId="{51A3BEEE-E2FB-AFBE-83C6-785A00D08804}"/>
          </ac:spMkLst>
        </pc:spChg>
        <pc:spChg chg="add del">
          <ac:chgData name="vidit garg" userId="8ae30a01eec24d4b" providerId="LiveId" clId="{50FEE7C6-C750-47A3-BD0F-211F1B0ADAAF}" dt="2024-11-20T06:03:00.170" v="15616" actId="478"/>
          <ac:spMkLst>
            <pc:docMk/>
            <pc:sldMk cId="726225029" sldId="272"/>
            <ac:spMk id="32" creationId="{9D7227A5-DA21-F4E0-39E5-73D1766608BE}"/>
          </ac:spMkLst>
        </pc:spChg>
        <pc:spChg chg="add mod">
          <ac:chgData name="vidit garg" userId="8ae30a01eec24d4b" providerId="LiveId" clId="{50FEE7C6-C750-47A3-BD0F-211F1B0ADAAF}" dt="2024-11-20T06:04:02.100" v="15621" actId="207"/>
          <ac:spMkLst>
            <pc:docMk/>
            <pc:sldMk cId="726225029" sldId="272"/>
            <ac:spMk id="36" creationId="{7CDB517C-B87F-37E8-100F-F762F700BA98}"/>
          </ac:spMkLst>
        </pc:spChg>
        <pc:spChg chg="add mod">
          <ac:chgData name="vidit garg" userId="8ae30a01eec24d4b" providerId="LiveId" clId="{50FEE7C6-C750-47A3-BD0F-211F1B0ADAAF}" dt="2024-11-20T06:04:36.786" v="15717" actId="1037"/>
          <ac:spMkLst>
            <pc:docMk/>
            <pc:sldMk cId="726225029" sldId="272"/>
            <ac:spMk id="38" creationId="{28956D9D-53DE-0C0D-6BA5-AF0884550520}"/>
          </ac:spMkLst>
        </pc:spChg>
        <pc:spChg chg="add mod">
          <ac:chgData name="vidit garg" userId="8ae30a01eec24d4b" providerId="LiveId" clId="{50FEE7C6-C750-47A3-BD0F-211F1B0ADAAF}" dt="2024-11-20T06:06:00.631" v="15745" actId="20577"/>
          <ac:spMkLst>
            <pc:docMk/>
            <pc:sldMk cId="726225029" sldId="272"/>
            <ac:spMk id="39" creationId="{54161F4E-FEB8-4D1D-13BF-84ABA7F70397}"/>
          </ac:spMkLst>
        </pc:spChg>
        <pc:spChg chg="add mod">
          <ac:chgData name="vidit garg" userId="8ae30a01eec24d4b" providerId="LiveId" clId="{50FEE7C6-C750-47A3-BD0F-211F1B0ADAAF}" dt="2024-11-20T06:05:29.308" v="15730" actId="1076"/>
          <ac:spMkLst>
            <pc:docMk/>
            <pc:sldMk cId="726225029" sldId="272"/>
            <ac:spMk id="40" creationId="{C45564A2-8CF8-7CC3-EADB-9D06F224F8C2}"/>
          </ac:spMkLst>
        </pc:spChg>
        <pc:spChg chg="add mod">
          <ac:chgData name="vidit garg" userId="8ae30a01eec24d4b" providerId="LiveId" clId="{50FEE7C6-C750-47A3-BD0F-211F1B0ADAAF}" dt="2024-11-20T06:07:45.689" v="15799" actId="207"/>
          <ac:spMkLst>
            <pc:docMk/>
            <pc:sldMk cId="726225029" sldId="272"/>
            <ac:spMk id="43" creationId="{39C4E91E-98E7-069E-CDC5-52B1D32240F7}"/>
          </ac:spMkLst>
        </pc:spChg>
        <pc:spChg chg="add del mod">
          <ac:chgData name="vidit garg" userId="8ae30a01eec24d4b" providerId="LiveId" clId="{50FEE7C6-C750-47A3-BD0F-211F1B0ADAAF}" dt="2024-11-20T06:09:06.095" v="15840"/>
          <ac:spMkLst>
            <pc:docMk/>
            <pc:sldMk cId="726225029" sldId="272"/>
            <ac:spMk id="46" creationId="{936FDDCA-3F09-045A-1548-4E463BCD6A9A}"/>
          </ac:spMkLst>
        </pc:spChg>
        <pc:spChg chg="add mod">
          <ac:chgData name="vidit garg" userId="8ae30a01eec24d4b" providerId="LiveId" clId="{50FEE7C6-C750-47A3-BD0F-211F1B0ADAAF}" dt="2024-11-20T06:09:20.323" v="15843"/>
          <ac:spMkLst>
            <pc:docMk/>
            <pc:sldMk cId="726225029" sldId="272"/>
            <ac:spMk id="49" creationId="{52B1AEB3-4422-FBB3-FC42-3A25A722ACD2}"/>
          </ac:spMkLst>
        </pc:spChg>
        <pc:spChg chg="add mod">
          <ac:chgData name="vidit garg" userId="8ae30a01eec24d4b" providerId="LiveId" clId="{50FEE7C6-C750-47A3-BD0F-211F1B0ADAAF}" dt="2024-11-20T06:16:32.369" v="16034" actId="20577"/>
          <ac:spMkLst>
            <pc:docMk/>
            <pc:sldMk cId="726225029" sldId="272"/>
            <ac:spMk id="53" creationId="{E8B7006F-B3DD-8A50-8456-623A2B708E78}"/>
          </ac:spMkLst>
        </pc:spChg>
        <pc:spChg chg="add mod">
          <ac:chgData name="vidit garg" userId="8ae30a01eec24d4b" providerId="LiveId" clId="{50FEE7C6-C750-47A3-BD0F-211F1B0ADAAF}" dt="2024-11-20T06:15:53.602" v="16019" actId="115"/>
          <ac:spMkLst>
            <pc:docMk/>
            <pc:sldMk cId="726225029" sldId="272"/>
            <ac:spMk id="56" creationId="{706791A3-9CAF-862D-8054-9960FF6D1A3A}"/>
          </ac:spMkLst>
        </pc:spChg>
        <pc:spChg chg="add del mod">
          <ac:chgData name="vidit garg" userId="8ae30a01eec24d4b" providerId="LiveId" clId="{50FEE7C6-C750-47A3-BD0F-211F1B0ADAAF}" dt="2024-11-20T06:18:17.841" v="16072"/>
          <ac:spMkLst>
            <pc:docMk/>
            <pc:sldMk cId="726225029" sldId="272"/>
            <ac:spMk id="57" creationId="{28928D6A-7CEE-7D5B-806A-570862C2129E}"/>
          </ac:spMkLst>
        </pc:spChg>
        <pc:spChg chg="add mod">
          <ac:chgData name="vidit garg" userId="8ae30a01eec24d4b" providerId="LiveId" clId="{50FEE7C6-C750-47A3-BD0F-211F1B0ADAAF}" dt="2024-11-20T06:24:56.375" v="16173" actId="115"/>
          <ac:spMkLst>
            <pc:docMk/>
            <pc:sldMk cId="726225029" sldId="272"/>
            <ac:spMk id="58" creationId="{E5F0AEC3-4720-BBEA-82B9-31535575FCE6}"/>
          </ac:spMkLst>
        </pc:spChg>
        <pc:spChg chg="add mod">
          <ac:chgData name="vidit garg" userId="8ae30a01eec24d4b" providerId="LiveId" clId="{50FEE7C6-C750-47A3-BD0F-211F1B0ADAAF}" dt="2024-11-20T13:24:24.538" v="16638" actId="14100"/>
          <ac:spMkLst>
            <pc:docMk/>
            <pc:sldMk cId="726225029" sldId="272"/>
            <ac:spMk id="71" creationId="{4A79C593-E520-9DBA-A30F-68D13A09A3C7}"/>
          </ac:spMkLst>
        </pc:spChg>
        <pc:spChg chg="add mod">
          <ac:chgData name="vidit garg" userId="8ae30a01eec24d4b" providerId="LiveId" clId="{50FEE7C6-C750-47A3-BD0F-211F1B0ADAAF}" dt="2024-11-20T17:59:49.488" v="22296"/>
          <ac:spMkLst>
            <pc:docMk/>
            <pc:sldMk cId="726225029" sldId="272"/>
            <ac:spMk id="76" creationId="{FAAD1BC5-8BC0-E7C9-31E2-87131C387579}"/>
          </ac:spMkLst>
        </pc:spChg>
        <pc:spChg chg="add mod">
          <ac:chgData name="vidit garg" userId="8ae30a01eec24d4b" providerId="LiveId" clId="{50FEE7C6-C750-47A3-BD0F-211F1B0ADAAF}" dt="2024-11-20T17:59:49.488" v="22296"/>
          <ac:spMkLst>
            <pc:docMk/>
            <pc:sldMk cId="726225029" sldId="272"/>
            <ac:spMk id="77" creationId="{D8F2B4F1-3ADF-B2A9-8A35-B26688C23674}"/>
          </ac:spMkLst>
        </pc:spChg>
        <pc:spChg chg="add mod">
          <ac:chgData name="vidit garg" userId="8ae30a01eec24d4b" providerId="LiveId" clId="{50FEE7C6-C750-47A3-BD0F-211F1B0ADAAF}" dt="2024-11-20T18:01:03.003" v="22302" actId="207"/>
          <ac:spMkLst>
            <pc:docMk/>
            <pc:sldMk cId="726225029" sldId="272"/>
            <ac:spMk id="78" creationId="{4B634736-96A9-3298-2CCB-16C72547D569}"/>
          </ac:spMkLst>
        </pc:spChg>
        <pc:spChg chg="add mod">
          <ac:chgData name="vidit garg" userId="8ae30a01eec24d4b" providerId="LiveId" clId="{50FEE7C6-C750-47A3-BD0F-211F1B0ADAAF}" dt="2024-11-20T17:59:49.488" v="22296"/>
          <ac:spMkLst>
            <pc:docMk/>
            <pc:sldMk cId="726225029" sldId="272"/>
            <ac:spMk id="79" creationId="{E7CA2B53-BBB0-E4E9-F6B1-D9937CA43D2D}"/>
          </ac:spMkLst>
        </pc:spChg>
        <pc:spChg chg="add mod">
          <ac:chgData name="vidit garg" userId="8ae30a01eec24d4b" providerId="LiveId" clId="{50FEE7C6-C750-47A3-BD0F-211F1B0ADAAF}" dt="2024-11-20T17:59:49.488" v="22296"/>
          <ac:spMkLst>
            <pc:docMk/>
            <pc:sldMk cId="726225029" sldId="272"/>
            <ac:spMk id="80" creationId="{0C98BA07-6DFA-AC2F-F1BF-74E75EF25503}"/>
          </ac:spMkLst>
        </pc:spChg>
        <pc:spChg chg="del">
          <ac:chgData name="vidit garg" userId="8ae30a01eec24d4b" providerId="LiveId" clId="{50FEE7C6-C750-47A3-BD0F-211F1B0ADAAF}" dt="2024-11-20T06:28:02.913" v="16174" actId="478"/>
          <ac:spMkLst>
            <pc:docMk/>
            <pc:sldMk cId="726225029" sldId="272"/>
            <ac:spMk id="82" creationId="{3C364AE9-D484-0FEB-1881-D7597C1F5068}"/>
          </ac:spMkLst>
        </pc:spChg>
        <pc:spChg chg="add mod">
          <ac:chgData name="vidit garg" userId="8ae30a01eec24d4b" providerId="LiveId" clId="{50FEE7C6-C750-47A3-BD0F-211F1B0ADAAF}" dt="2024-11-20T18:00:44.929" v="22301" actId="207"/>
          <ac:spMkLst>
            <pc:docMk/>
            <pc:sldMk cId="726225029" sldId="272"/>
            <ac:spMk id="83" creationId="{37D56121-C693-51AB-8318-B508FA308051}"/>
          </ac:spMkLst>
        </pc:spChg>
        <pc:spChg chg="add mod">
          <ac:chgData name="vidit garg" userId="8ae30a01eec24d4b" providerId="LiveId" clId="{50FEE7C6-C750-47A3-BD0F-211F1B0ADAAF}" dt="2024-11-20T18:00:31.008" v="22300"/>
          <ac:spMkLst>
            <pc:docMk/>
            <pc:sldMk cId="726225029" sldId="272"/>
            <ac:spMk id="85" creationId="{947F340B-0587-226B-228E-D3247E0DF5EA}"/>
          </ac:spMkLst>
        </pc:spChg>
        <pc:spChg chg="mod">
          <ac:chgData name="vidit garg" userId="8ae30a01eec24d4b" providerId="LiveId" clId="{50FEE7C6-C750-47A3-BD0F-211F1B0ADAAF}" dt="2024-11-20T05:53:49.612" v="15390" actId="207"/>
          <ac:spMkLst>
            <pc:docMk/>
            <pc:sldMk cId="726225029" sldId="272"/>
            <ac:spMk id="86" creationId="{B957A1C8-3E2E-88FE-82B8-CEB2B8417B7B}"/>
          </ac:spMkLst>
        </pc:spChg>
        <pc:spChg chg="mod">
          <ac:chgData name="vidit garg" userId="8ae30a01eec24d4b" providerId="LiveId" clId="{50FEE7C6-C750-47A3-BD0F-211F1B0ADAAF}" dt="2024-11-20T05:53:55.649" v="15391" actId="207"/>
          <ac:spMkLst>
            <pc:docMk/>
            <pc:sldMk cId="726225029" sldId="272"/>
            <ac:spMk id="87" creationId="{832FC1B5-EDDC-A6DF-F167-FCA60A955256}"/>
          </ac:spMkLst>
        </pc:spChg>
        <pc:graphicFrameChg chg="add del mod modGraphic">
          <ac:chgData name="vidit garg" userId="8ae30a01eec24d4b" providerId="LiveId" clId="{50FEE7C6-C750-47A3-BD0F-211F1B0ADAAF}" dt="2024-11-20T05:51:36.619" v="15330" actId="478"/>
          <ac:graphicFrameMkLst>
            <pc:docMk/>
            <pc:sldMk cId="726225029" sldId="272"/>
            <ac:graphicFrameMk id="20" creationId="{C3B7DE94-A3DD-A463-BF26-19FB9FCA19FA}"/>
          </ac:graphicFrameMkLst>
        </pc:graphicFrameChg>
        <pc:graphicFrameChg chg="add del mod modGraphic">
          <ac:chgData name="vidit garg" userId="8ae30a01eec24d4b" providerId="LiveId" clId="{50FEE7C6-C750-47A3-BD0F-211F1B0ADAAF}" dt="2024-11-20T06:00:25.395" v="15550" actId="478"/>
          <ac:graphicFrameMkLst>
            <pc:docMk/>
            <pc:sldMk cId="726225029" sldId="272"/>
            <ac:graphicFrameMk id="24" creationId="{5142558E-BA7F-2638-6899-E8FF1751C73A}"/>
          </ac:graphicFrameMkLst>
        </pc:graphicFrameChg>
        <pc:graphicFrameChg chg="add mod">
          <ac:chgData name="vidit garg" userId="8ae30a01eec24d4b" providerId="LiveId" clId="{50FEE7C6-C750-47A3-BD0F-211F1B0ADAAF}" dt="2024-11-20T05:59:38.312" v="15480"/>
          <ac:graphicFrameMkLst>
            <pc:docMk/>
            <pc:sldMk cId="726225029" sldId="272"/>
            <ac:graphicFrameMk id="27" creationId="{B7EBCB01-30D0-B6D7-FC4C-E3DD148FCCEC}"/>
          </ac:graphicFrameMkLst>
        </pc:graphicFrameChg>
        <pc:graphicFrameChg chg="del">
          <ac:chgData name="vidit garg" userId="8ae30a01eec24d4b" providerId="LiveId" clId="{50FEE7C6-C750-47A3-BD0F-211F1B0ADAAF}" dt="2024-11-20T13:20:23.387" v="16583" actId="478"/>
          <ac:graphicFrameMkLst>
            <pc:docMk/>
            <pc:sldMk cId="726225029" sldId="272"/>
            <ac:graphicFrameMk id="61" creationId="{5DE7F888-6A4D-FBB5-5051-20FF780CBDF7}"/>
          </ac:graphicFrameMkLst>
        </pc:graphicFrameChg>
        <pc:graphicFrameChg chg="add del mod">
          <ac:chgData name="vidit garg" userId="8ae30a01eec24d4b" providerId="LiveId" clId="{50FEE7C6-C750-47A3-BD0F-211F1B0ADAAF}" dt="2024-11-20T13:20:21.179" v="16582" actId="478"/>
          <ac:graphicFrameMkLst>
            <pc:docMk/>
            <pc:sldMk cId="726225029" sldId="272"/>
            <ac:graphicFrameMk id="62" creationId="{0189291F-5F4C-60B4-447F-F30EBEE60975}"/>
          </ac:graphicFrameMkLst>
        </pc:graphicFrameChg>
        <pc:picChg chg="add del mod">
          <ac:chgData name="vidit garg" userId="8ae30a01eec24d4b" providerId="LiveId" clId="{50FEE7C6-C750-47A3-BD0F-211F1B0ADAAF}" dt="2024-11-20T05:20:41.674" v="15194" actId="478"/>
          <ac:picMkLst>
            <pc:docMk/>
            <pc:sldMk cId="726225029" sldId="272"/>
            <ac:picMk id="13" creationId="{D4A4144C-7111-E007-4A67-071AFDD4ECB6}"/>
          </ac:picMkLst>
        </pc:picChg>
        <pc:picChg chg="add del mod">
          <ac:chgData name="vidit garg" userId="8ae30a01eec24d4b" providerId="LiveId" clId="{50FEE7C6-C750-47A3-BD0F-211F1B0ADAAF}" dt="2024-11-20T05:38:46.824" v="15206" actId="478"/>
          <ac:picMkLst>
            <pc:docMk/>
            <pc:sldMk cId="726225029" sldId="272"/>
            <ac:picMk id="15" creationId="{65AD1D94-C3B6-BD74-EDFA-710E5B031A0B}"/>
          </ac:picMkLst>
        </pc:picChg>
        <pc:picChg chg="add mod ord">
          <ac:chgData name="vidit garg" userId="8ae30a01eec24d4b" providerId="LiveId" clId="{50FEE7C6-C750-47A3-BD0F-211F1B0ADAAF}" dt="2024-11-20T06:02:57.147" v="15615" actId="1076"/>
          <ac:picMkLst>
            <pc:docMk/>
            <pc:sldMk cId="726225029" sldId="272"/>
            <ac:picMk id="18" creationId="{3D0924D4-1C1B-5079-F4FD-6DC26689A737}"/>
          </ac:picMkLst>
        </pc:picChg>
        <pc:picChg chg="del">
          <ac:chgData name="vidit garg" userId="8ae30a01eec24d4b" providerId="LiveId" clId="{50FEE7C6-C750-47A3-BD0F-211F1B0ADAAF}" dt="2024-11-20T13:21:09.616" v="16584" actId="478"/>
          <ac:picMkLst>
            <pc:docMk/>
            <pc:sldMk cId="726225029" sldId="272"/>
            <ac:picMk id="33" creationId="{51CAD0E1-13D4-3E36-D3B5-60DB4939A1B0}"/>
          </ac:picMkLst>
        </pc:picChg>
        <pc:picChg chg="add mod">
          <ac:chgData name="vidit garg" userId="8ae30a01eec24d4b" providerId="LiveId" clId="{50FEE7C6-C750-47A3-BD0F-211F1B0ADAAF}" dt="2024-11-20T08:49:33.337" v="16474" actId="1076"/>
          <ac:picMkLst>
            <pc:docMk/>
            <pc:sldMk cId="726225029" sldId="272"/>
            <ac:picMk id="60" creationId="{9AD113DF-33A9-9B7F-3ECC-EED94933F83A}"/>
          </ac:picMkLst>
        </pc:picChg>
        <pc:picChg chg="add mod">
          <ac:chgData name="vidit garg" userId="8ae30a01eec24d4b" providerId="LiveId" clId="{50FEE7C6-C750-47A3-BD0F-211F1B0ADAAF}" dt="2024-11-20T13:21:57.276" v="16593" actId="1076"/>
          <ac:picMkLst>
            <pc:docMk/>
            <pc:sldMk cId="726225029" sldId="272"/>
            <ac:picMk id="64" creationId="{71F1B94E-F3FD-4AB9-00A4-056A2E7DAD90}"/>
          </ac:picMkLst>
        </pc:picChg>
        <pc:picChg chg="add mod ord">
          <ac:chgData name="vidit garg" userId="8ae30a01eec24d4b" providerId="LiveId" clId="{50FEE7C6-C750-47A3-BD0F-211F1B0ADAAF}" dt="2024-11-20T18:16:09.274" v="22654" actId="1076"/>
          <ac:picMkLst>
            <pc:docMk/>
            <pc:sldMk cId="726225029" sldId="272"/>
            <ac:picMk id="69" creationId="{5CBFAAE1-EB5D-C2FC-1FCE-9C0E65A66555}"/>
          </ac:picMkLst>
        </pc:picChg>
        <pc:picChg chg="mod">
          <ac:chgData name="vidit garg" userId="8ae30a01eec24d4b" providerId="LiveId" clId="{50FEE7C6-C750-47A3-BD0F-211F1B0ADAAF}" dt="2024-11-20T13:22:37.245" v="16599" actId="14100"/>
          <ac:picMkLst>
            <pc:docMk/>
            <pc:sldMk cId="726225029" sldId="272"/>
            <ac:picMk id="1028" creationId="{CEF83F0C-C5D2-FAB7-8FFB-8F90C033FA11}"/>
          </ac:picMkLst>
        </pc:picChg>
      </pc:sldChg>
      <pc:sldChg chg="del">
        <pc:chgData name="vidit garg" userId="8ae30a01eec24d4b" providerId="LiveId" clId="{50FEE7C6-C750-47A3-BD0F-211F1B0ADAAF}" dt="2024-11-20T18:24:44.863" v="22719" actId="47"/>
        <pc:sldMkLst>
          <pc:docMk/>
          <pc:sldMk cId="1200330841" sldId="273"/>
        </pc:sldMkLst>
      </pc:sldChg>
      <pc:sldChg chg="addSp modSp new del mod">
        <pc:chgData name="vidit garg" userId="8ae30a01eec24d4b" providerId="LiveId" clId="{50FEE7C6-C750-47A3-BD0F-211F1B0ADAAF}" dt="2024-11-20T13:25:50.396" v="16645" actId="47"/>
        <pc:sldMkLst>
          <pc:docMk/>
          <pc:sldMk cId="4165105942" sldId="274"/>
        </pc:sldMkLst>
        <pc:spChg chg="mod">
          <ac:chgData name="vidit garg" userId="8ae30a01eec24d4b" providerId="LiveId" clId="{50FEE7C6-C750-47A3-BD0F-211F1B0ADAAF}" dt="2024-11-20T06:09:06.111" v="15841" actId="20577"/>
          <ac:spMkLst>
            <pc:docMk/>
            <pc:sldMk cId="4165105942" sldId="274"/>
            <ac:spMk id="2" creationId="{BDE44E0A-C51E-24B4-3A83-3CAC5411740D}"/>
          </ac:spMkLst>
        </pc:spChg>
        <pc:spChg chg="add mod">
          <ac:chgData name="vidit garg" userId="8ae30a01eec24d4b" providerId="LiveId" clId="{50FEE7C6-C750-47A3-BD0F-211F1B0ADAAF}" dt="2024-11-20T08:43:29.780" v="16339"/>
          <ac:spMkLst>
            <pc:docMk/>
            <pc:sldMk cId="4165105942" sldId="274"/>
            <ac:spMk id="4" creationId="{09BFFB98-B461-A595-B6AD-98C74DD8D8F8}"/>
          </ac:spMkLst>
        </pc:spChg>
      </pc:sldChg>
      <pc:sldChg chg="addSp delSp modSp add del mod">
        <pc:chgData name="vidit garg" userId="8ae30a01eec24d4b" providerId="LiveId" clId="{50FEE7C6-C750-47A3-BD0F-211F1B0ADAAF}" dt="2024-11-20T08:43:12.358" v="16338" actId="47"/>
        <pc:sldMkLst>
          <pc:docMk/>
          <pc:sldMk cId="3712061539" sldId="275"/>
        </pc:sldMkLst>
        <pc:spChg chg="add mod">
          <ac:chgData name="vidit garg" userId="8ae30a01eec24d4b" providerId="LiveId" clId="{50FEE7C6-C750-47A3-BD0F-211F1B0ADAAF}" dt="2024-11-20T08:42:54.062" v="16332"/>
          <ac:spMkLst>
            <pc:docMk/>
            <pc:sldMk cId="3712061539" sldId="275"/>
            <ac:spMk id="2" creationId="{F1733C89-6D3C-E5E6-A1B9-34FF90C53393}"/>
          </ac:spMkLst>
        </pc:spChg>
        <pc:spChg chg="add mod">
          <ac:chgData name="vidit garg" userId="8ae30a01eec24d4b" providerId="LiveId" clId="{50FEE7C6-C750-47A3-BD0F-211F1B0ADAAF}" dt="2024-11-20T08:42:56.723" v="16334"/>
          <ac:spMkLst>
            <pc:docMk/>
            <pc:sldMk cId="3712061539" sldId="275"/>
            <ac:spMk id="8" creationId="{8F69C725-46E6-D74B-0D4B-B5BD4CBC5800}"/>
          </ac:spMkLst>
        </pc:spChg>
        <pc:spChg chg="mod">
          <ac:chgData name="vidit garg" userId="8ae30a01eec24d4b" providerId="LiveId" clId="{50FEE7C6-C750-47A3-BD0F-211F1B0ADAAF}" dt="2024-11-20T08:42:42.042" v="16329" actId="1076"/>
          <ac:spMkLst>
            <pc:docMk/>
            <pc:sldMk cId="3712061539" sldId="275"/>
            <ac:spMk id="128" creationId="{E71F7B9C-2EB9-1D91-BF9C-1B34D7A74874}"/>
          </ac:spMkLst>
        </pc:spChg>
        <pc:spChg chg="add del mod">
          <ac:chgData name="vidit garg" userId="8ae30a01eec24d4b" providerId="LiveId" clId="{50FEE7C6-C750-47A3-BD0F-211F1B0ADAAF}" dt="2024-11-20T08:43:04.273" v="16337" actId="47"/>
          <ac:spMkLst>
            <pc:docMk/>
            <pc:sldMk cId="3712061539" sldId="275"/>
            <ac:spMk id="145" creationId="{4632AF15-CF79-C8D2-0A7D-932D0DB6D333}"/>
          </ac:spMkLst>
        </pc:spChg>
        <pc:spChg chg="mod">
          <ac:chgData name="vidit garg" userId="8ae30a01eec24d4b" providerId="LiveId" clId="{50FEE7C6-C750-47A3-BD0F-211F1B0ADAAF}" dt="2024-11-20T08:42:53.370" v="16331" actId="1076"/>
          <ac:spMkLst>
            <pc:docMk/>
            <pc:sldMk cId="3712061539" sldId="275"/>
            <ac:spMk id="1027" creationId="{DF786F6F-7A50-6D93-8FE4-05D4FC94A4EC}"/>
          </ac:spMkLst>
        </pc:spChg>
      </pc:sldChg>
      <pc:sldChg chg="addSp delSp modSp add mod ord">
        <pc:chgData name="vidit garg" userId="8ae30a01eec24d4b" providerId="LiveId" clId="{50FEE7C6-C750-47A3-BD0F-211F1B0ADAAF}" dt="2024-11-21T09:51:27.053" v="24216" actId="20577"/>
        <pc:sldMkLst>
          <pc:docMk/>
          <pc:sldMk cId="4249004664" sldId="275"/>
        </pc:sldMkLst>
        <pc:spChg chg="del mod">
          <ac:chgData name="vidit garg" userId="8ae30a01eec24d4b" providerId="LiveId" clId="{50FEE7C6-C750-47A3-BD0F-211F1B0ADAAF}" dt="2024-11-20T18:03:16.623" v="22342" actId="478"/>
          <ac:spMkLst>
            <pc:docMk/>
            <pc:sldMk cId="4249004664" sldId="275"/>
            <ac:spMk id="5" creationId="{218236C7-FB5E-3D12-0D73-D04D5E6995FC}"/>
          </ac:spMkLst>
        </pc:spChg>
        <pc:spChg chg="del">
          <ac:chgData name="vidit garg" userId="8ae30a01eec24d4b" providerId="LiveId" clId="{50FEE7C6-C750-47A3-BD0F-211F1B0ADAAF}" dt="2024-11-20T18:03:18.556" v="22343" actId="478"/>
          <ac:spMkLst>
            <pc:docMk/>
            <pc:sldMk cId="4249004664" sldId="275"/>
            <ac:spMk id="7" creationId="{7F185222-85C7-C8F5-6038-F03C330C7FE4}"/>
          </ac:spMkLst>
        </pc:spChg>
        <pc:spChg chg="del">
          <ac:chgData name="vidit garg" userId="8ae30a01eec24d4b" providerId="LiveId" clId="{50FEE7C6-C750-47A3-BD0F-211F1B0ADAAF}" dt="2024-11-20T18:03:20.606" v="22344" actId="478"/>
          <ac:spMkLst>
            <pc:docMk/>
            <pc:sldMk cId="4249004664" sldId="275"/>
            <ac:spMk id="9" creationId="{8FF89D90-DAFB-131A-C216-116FC655BA7A}"/>
          </ac:spMkLst>
        </pc:spChg>
        <pc:spChg chg="del">
          <ac:chgData name="vidit garg" userId="8ae30a01eec24d4b" providerId="LiveId" clId="{50FEE7C6-C750-47A3-BD0F-211F1B0ADAAF}" dt="2024-11-20T18:03:22.895" v="22345" actId="478"/>
          <ac:spMkLst>
            <pc:docMk/>
            <pc:sldMk cId="4249004664" sldId="275"/>
            <ac:spMk id="10" creationId="{B80E4D07-19F2-3CDF-3540-92DE654D00CF}"/>
          </ac:spMkLst>
        </pc:spChg>
        <pc:spChg chg="del">
          <ac:chgData name="vidit garg" userId="8ae30a01eec24d4b" providerId="LiveId" clId="{50FEE7C6-C750-47A3-BD0F-211F1B0ADAAF}" dt="2024-11-20T18:03:25.611" v="22346" actId="478"/>
          <ac:spMkLst>
            <pc:docMk/>
            <pc:sldMk cId="4249004664" sldId="275"/>
            <ac:spMk id="11" creationId="{25234257-7E32-D3AD-CD7B-BD9A536009FB}"/>
          </ac:spMkLst>
        </pc:spChg>
        <pc:spChg chg="mod">
          <ac:chgData name="vidit garg" userId="8ae30a01eec24d4b" providerId="LiveId" clId="{50FEE7C6-C750-47A3-BD0F-211F1B0ADAAF}" dt="2024-11-20T14:05:19.507" v="17059" actId="1037"/>
          <ac:spMkLst>
            <pc:docMk/>
            <pc:sldMk cId="4249004664" sldId="275"/>
            <ac:spMk id="14" creationId="{D8F412FF-6EEB-51A8-F470-D571EFF1F373}"/>
          </ac:spMkLst>
        </pc:spChg>
        <pc:spChg chg="mod">
          <ac:chgData name="vidit garg" userId="8ae30a01eec24d4b" providerId="LiveId" clId="{50FEE7C6-C750-47A3-BD0F-211F1B0ADAAF}" dt="2024-11-20T14:04:56.612" v="17052" actId="1076"/>
          <ac:spMkLst>
            <pc:docMk/>
            <pc:sldMk cId="4249004664" sldId="275"/>
            <ac:spMk id="15" creationId="{7F8C77DD-62DE-D137-6989-8ABE2C29D19A}"/>
          </ac:spMkLst>
        </pc:spChg>
        <pc:spChg chg="mod">
          <ac:chgData name="vidit garg" userId="8ae30a01eec24d4b" providerId="LiveId" clId="{50FEE7C6-C750-47A3-BD0F-211F1B0ADAAF}" dt="2024-11-20T14:05:01.852" v="17054" actId="1076"/>
          <ac:spMkLst>
            <pc:docMk/>
            <pc:sldMk cId="4249004664" sldId="275"/>
            <ac:spMk id="16" creationId="{5F1EE4F0-E1C9-7B43-F559-C1C70C2BCFDE}"/>
          </ac:spMkLst>
        </pc:spChg>
        <pc:spChg chg="mod">
          <ac:chgData name="vidit garg" userId="8ae30a01eec24d4b" providerId="LiveId" clId="{50FEE7C6-C750-47A3-BD0F-211F1B0ADAAF}" dt="2024-11-20T14:05:30.767" v="17092" actId="1038"/>
          <ac:spMkLst>
            <pc:docMk/>
            <pc:sldMk cId="4249004664" sldId="275"/>
            <ac:spMk id="19" creationId="{00245D7E-703C-5305-F809-1B77A5A6EE00}"/>
          </ac:spMkLst>
        </pc:spChg>
        <pc:spChg chg="add mod">
          <ac:chgData name="vidit garg" userId="8ae30a01eec24d4b" providerId="LiveId" clId="{50FEE7C6-C750-47A3-BD0F-211F1B0ADAAF}" dt="2024-11-20T14:15:21.530" v="17163" actId="1076"/>
          <ac:spMkLst>
            <pc:docMk/>
            <pc:sldMk cId="4249004664" sldId="275"/>
            <ac:spMk id="26" creationId="{61198401-D9F9-3867-91FA-209FAAB65751}"/>
          </ac:spMkLst>
        </pc:spChg>
        <pc:spChg chg="add mod">
          <ac:chgData name="vidit garg" userId="8ae30a01eec24d4b" providerId="LiveId" clId="{50FEE7C6-C750-47A3-BD0F-211F1B0ADAAF}" dt="2024-11-20T14:15:39.129" v="17167" actId="1076"/>
          <ac:spMkLst>
            <pc:docMk/>
            <pc:sldMk cId="4249004664" sldId="275"/>
            <ac:spMk id="27" creationId="{8E296853-2490-ADD1-CC8B-D79BEF814567}"/>
          </ac:spMkLst>
        </pc:spChg>
        <pc:spChg chg="add mod">
          <ac:chgData name="vidit garg" userId="8ae30a01eec24d4b" providerId="LiveId" clId="{50FEE7C6-C750-47A3-BD0F-211F1B0ADAAF}" dt="2024-11-20T14:16:04.885" v="17170" actId="1076"/>
          <ac:spMkLst>
            <pc:docMk/>
            <pc:sldMk cId="4249004664" sldId="275"/>
            <ac:spMk id="29" creationId="{47EA0936-0F6F-4E4D-9C33-BFEE3D4E975C}"/>
          </ac:spMkLst>
        </pc:spChg>
        <pc:spChg chg="add mod">
          <ac:chgData name="vidit garg" userId="8ae30a01eec24d4b" providerId="LiveId" clId="{50FEE7C6-C750-47A3-BD0F-211F1B0ADAAF}" dt="2024-11-20T14:16:38.384" v="17193" actId="20577"/>
          <ac:spMkLst>
            <pc:docMk/>
            <pc:sldMk cId="4249004664" sldId="275"/>
            <ac:spMk id="30" creationId="{317B40C7-611D-E29A-82BB-21CBE8B63C20}"/>
          </ac:spMkLst>
        </pc:spChg>
        <pc:spChg chg="add mod">
          <ac:chgData name="vidit garg" userId="8ae30a01eec24d4b" providerId="LiveId" clId="{50FEE7C6-C750-47A3-BD0F-211F1B0ADAAF}" dt="2024-11-20T18:03:33.070" v="22348" actId="1038"/>
          <ac:spMkLst>
            <pc:docMk/>
            <pc:sldMk cId="4249004664" sldId="275"/>
            <ac:spMk id="31" creationId="{D5B08489-07E9-A390-759E-378CF916482A}"/>
          </ac:spMkLst>
        </pc:spChg>
        <pc:spChg chg="add mod">
          <ac:chgData name="vidit garg" userId="8ae30a01eec24d4b" providerId="LiveId" clId="{50FEE7C6-C750-47A3-BD0F-211F1B0ADAAF}" dt="2024-11-20T18:03:27.613" v="22347"/>
          <ac:spMkLst>
            <pc:docMk/>
            <pc:sldMk cId="4249004664" sldId="275"/>
            <ac:spMk id="32" creationId="{9EA3D3F4-7346-8863-A6A8-C236EAE9061A}"/>
          </ac:spMkLst>
        </pc:spChg>
        <pc:spChg chg="add mod">
          <ac:chgData name="vidit garg" userId="8ae30a01eec24d4b" providerId="LiveId" clId="{50FEE7C6-C750-47A3-BD0F-211F1B0ADAAF}" dt="2024-11-20T18:03:27.613" v="22347"/>
          <ac:spMkLst>
            <pc:docMk/>
            <pc:sldMk cId="4249004664" sldId="275"/>
            <ac:spMk id="33" creationId="{D1427EAE-5182-0420-DC5B-A97A334C398E}"/>
          </ac:spMkLst>
        </pc:spChg>
        <pc:spChg chg="add mod">
          <ac:chgData name="vidit garg" userId="8ae30a01eec24d4b" providerId="LiveId" clId="{50FEE7C6-C750-47A3-BD0F-211F1B0ADAAF}" dt="2024-11-20T18:03:27.613" v="22347"/>
          <ac:spMkLst>
            <pc:docMk/>
            <pc:sldMk cId="4249004664" sldId="275"/>
            <ac:spMk id="34" creationId="{8F4744C8-39C2-A601-A9CF-09C887C3DD49}"/>
          </ac:spMkLst>
        </pc:spChg>
        <pc:spChg chg="add mod">
          <ac:chgData name="vidit garg" userId="8ae30a01eec24d4b" providerId="LiveId" clId="{50FEE7C6-C750-47A3-BD0F-211F1B0ADAAF}" dt="2024-11-20T18:03:27.613" v="22347"/>
          <ac:spMkLst>
            <pc:docMk/>
            <pc:sldMk cId="4249004664" sldId="275"/>
            <ac:spMk id="35" creationId="{865F870E-6629-8857-6F73-3C6A7F865A8C}"/>
          </ac:spMkLst>
        </pc:spChg>
        <pc:spChg chg="add mod">
          <ac:chgData name="vidit garg" userId="8ae30a01eec24d4b" providerId="LiveId" clId="{50FEE7C6-C750-47A3-BD0F-211F1B0ADAAF}" dt="2024-11-20T18:03:27.613" v="22347"/>
          <ac:spMkLst>
            <pc:docMk/>
            <pc:sldMk cId="4249004664" sldId="275"/>
            <ac:spMk id="36" creationId="{3FFD2F99-2D24-D524-5A20-186FD700B064}"/>
          </ac:spMkLst>
        </pc:spChg>
        <pc:spChg chg="add mod">
          <ac:chgData name="vidit garg" userId="8ae30a01eec24d4b" providerId="LiveId" clId="{50FEE7C6-C750-47A3-BD0F-211F1B0ADAAF}" dt="2024-11-20T18:20:12.878" v="22704" actId="113"/>
          <ac:spMkLst>
            <pc:docMk/>
            <pc:sldMk cId="4249004664" sldId="275"/>
            <ac:spMk id="37" creationId="{0339B5C6-E04A-CDD4-C6A0-22EE51D4C903}"/>
          </ac:spMkLst>
        </pc:spChg>
        <pc:spChg chg="add mod">
          <ac:chgData name="vidit garg" userId="8ae30a01eec24d4b" providerId="LiveId" clId="{50FEE7C6-C750-47A3-BD0F-211F1B0ADAAF}" dt="2024-11-20T18:19:13.959" v="22692" actId="1076"/>
          <ac:spMkLst>
            <pc:docMk/>
            <pc:sldMk cId="4249004664" sldId="275"/>
            <ac:spMk id="38" creationId="{E9F5FE38-4C7A-EF55-0746-808E28E3D3B1}"/>
          </ac:spMkLst>
        </pc:spChg>
        <pc:spChg chg="add mod">
          <ac:chgData name="vidit garg" userId="8ae30a01eec24d4b" providerId="LiveId" clId="{50FEE7C6-C750-47A3-BD0F-211F1B0ADAAF}" dt="2024-11-20T18:20:05.795" v="22703" actId="113"/>
          <ac:spMkLst>
            <pc:docMk/>
            <pc:sldMk cId="4249004664" sldId="275"/>
            <ac:spMk id="39" creationId="{23D13B71-7A50-66EB-1EEF-5EE0E45BFA29}"/>
          </ac:spMkLst>
        </pc:spChg>
        <pc:spChg chg="mod">
          <ac:chgData name="vidit garg" userId="8ae30a01eec24d4b" providerId="LiveId" clId="{50FEE7C6-C750-47A3-BD0F-211F1B0ADAAF}" dt="2024-11-20T18:03:55.362" v="22374" actId="1037"/>
          <ac:spMkLst>
            <pc:docMk/>
            <pc:sldMk cId="4249004664" sldId="275"/>
            <ac:spMk id="82" creationId="{EEE97C47-2557-09FF-9504-E5AA5E89D372}"/>
          </ac:spMkLst>
        </pc:spChg>
        <pc:spChg chg="mod">
          <ac:chgData name="vidit garg" userId="8ae30a01eec24d4b" providerId="LiveId" clId="{50FEE7C6-C750-47A3-BD0F-211F1B0ADAAF}" dt="2024-11-21T09:51:27.053" v="24216" actId="20577"/>
          <ac:spMkLst>
            <pc:docMk/>
            <pc:sldMk cId="4249004664" sldId="275"/>
            <ac:spMk id="161" creationId="{B5DA7CBC-0841-9FAB-0591-62CC4367CF82}"/>
          </ac:spMkLst>
        </pc:spChg>
        <pc:graphicFrameChg chg="add del mod modGraphic">
          <ac:chgData name="vidit garg" userId="8ae30a01eec24d4b" providerId="LiveId" clId="{50FEE7C6-C750-47A3-BD0F-211F1B0ADAAF}" dt="2024-11-20T14:01:53.214" v="17030" actId="478"/>
          <ac:graphicFrameMkLst>
            <pc:docMk/>
            <pc:sldMk cId="4249004664" sldId="275"/>
            <ac:graphicFrameMk id="3" creationId="{CD11B3E3-BB35-3C79-0AE1-07576F8C3B30}"/>
          </ac:graphicFrameMkLst>
        </pc:graphicFrameChg>
        <pc:graphicFrameChg chg="add mod">
          <ac:chgData name="vidit garg" userId="8ae30a01eec24d4b" providerId="LiveId" clId="{50FEE7C6-C750-47A3-BD0F-211F1B0ADAAF}" dt="2024-11-20T14:14:34.770" v="17106"/>
          <ac:graphicFrameMkLst>
            <pc:docMk/>
            <pc:sldMk cId="4249004664" sldId="275"/>
            <ac:graphicFrameMk id="25" creationId="{FC5A30EC-84A6-EDF9-3575-0AD4CB3A9B9A}"/>
          </ac:graphicFrameMkLst>
        </pc:graphicFrameChg>
        <pc:graphicFrameChg chg="add mod">
          <ac:chgData name="vidit garg" userId="8ae30a01eec24d4b" providerId="LiveId" clId="{50FEE7C6-C750-47A3-BD0F-211F1B0ADAAF}" dt="2024-11-20T14:15:49.696" v="17168"/>
          <ac:graphicFrameMkLst>
            <pc:docMk/>
            <pc:sldMk cId="4249004664" sldId="275"/>
            <ac:graphicFrameMk id="28" creationId="{405E5A74-9C7C-666F-345B-AD60BBC6E8CD}"/>
          </ac:graphicFrameMkLst>
        </pc:graphicFrameChg>
        <pc:picChg chg="add mod">
          <ac:chgData name="vidit garg" userId="8ae30a01eec24d4b" providerId="LiveId" clId="{50FEE7C6-C750-47A3-BD0F-211F1B0ADAAF}" dt="2024-11-20T14:05:08.202" v="17055" actId="1076"/>
          <ac:picMkLst>
            <pc:docMk/>
            <pc:sldMk cId="4249004664" sldId="275"/>
            <ac:picMk id="12" creationId="{7EDF921F-1F15-8903-17E9-8153A37F2F1D}"/>
          </ac:picMkLst>
        </pc:picChg>
        <pc:picChg chg="del">
          <ac:chgData name="vidit garg" userId="8ae30a01eec24d4b" providerId="LiveId" clId="{50FEE7C6-C750-47A3-BD0F-211F1B0ADAAF}" dt="2024-11-20T08:51:49.564" v="16523" actId="478"/>
          <ac:picMkLst>
            <pc:docMk/>
            <pc:sldMk cId="4249004664" sldId="275"/>
            <ac:picMk id="13" creationId="{C499D534-41C8-41E9-97FE-E6AA764D92EC}"/>
          </ac:picMkLst>
        </pc:picChg>
        <pc:picChg chg="add mod">
          <ac:chgData name="vidit garg" userId="8ae30a01eec24d4b" providerId="LiveId" clId="{50FEE7C6-C750-47A3-BD0F-211F1B0ADAAF}" dt="2024-11-20T14:13:47.164" v="17100" actId="1076"/>
          <ac:picMkLst>
            <pc:docMk/>
            <pc:sldMk cId="4249004664" sldId="275"/>
            <ac:picMk id="21" creationId="{520CE45E-9438-C2C5-43E4-1E48322841B8}"/>
          </ac:picMkLst>
        </pc:picChg>
        <pc:cxnChg chg="add mod">
          <ac:chgData name="vidit garg" userId="8ae30a01eec24d4b" providerId="LiveId" clId="{50FEE7C6-C750-47A3-BD0F-211F1B0ADAAF}" dt="2024-11-20T14:14:18.364" v="17103" actId="208"/>
          <ac:cxnSpMkLst>
            <pc:docMk/>
            <pc:sldMk cId="4249004664" sldId="275"/>
            <ac:cxnSpMk id="23" creationId="{4CFE1DD6-6CAC-B3A3-8A0F-DB2DAEEC7174}"/>
          </ac:cxnSpMkLst>
        </pc:cxnChg>
        <pc:cxnChg chg="add mod">
          <ac:chgData name="vidit garg" userId="8ae30a01eec24d4b" providerId="LiveId" clId="{50FEE7C6-C750-47A3-BD0F-211F1B0ADAAF}" dt="2024-11-20T14:14:29.358" v="17105" actId="1076"/>
          <ac:cxnSpMkLst>
            <pc:docMk/>
            <pc:sldMk cId="4249004664" sldId="275"/>
            <ac:cxnSpMk id="24" creationId="{4F3B46EE-B5C8-95B3-8B4D-CC35FBD31E6A}"/>
          </ac:cxnSpMkLst>
        </pc:cxnChg>
      </pc:sldChg>
      <pc:sldChg chg="delSp add del mod">
        <pc:chgData name="vidit garg" userId="8ae30a01eec24d4b" providerId="LiveId" clId="{50FEE7C6-C750-47A3-BD0F-211F1B0ADAAF}" dt="2024-11-20T18:21:36.802" v="22714" actId="47"/>
        <pc:sldMkLst>
          <pc:docMk/>
          <pc:sldMk cId="3296883500" sldId="276"/>
        </pc:sldMkLst>
        <pc:spChg chg="del">
          <ac:chgData name="vidit garg" userId="8ae30a01eec24d4b" providerId="LiveId" clId="{50FEE7C6-C750-47A3-BD0F-211F1B0ADAAF}" dt="2024-11-20T14:18:48.344" v="17195" actId="478"/>
          <ac:spMkLst>
            <pc:docMk/>
            <pc:sldMk cId="3296883500" sldId="276"/>
            <ac:spMk id="14" creationId="{64A544FE-8BB4-E967-AF18-D8BBABD9FD50}"/>
          </ac:spMkLst>
        </pc:spChg>
        <pc:spChg chg="del">
          <ac:chgData name="vidit garg" userId="8ae30a01eec24d4b" providerId="LiveId" clId="{50FEE7C6-C750-47A3-BD0F-211F1B0ADAAF}" dt="2024-11-20T14:18:45.924" v="17194" actId="478"/>
          <ac:spMkLst>
            <pc:docMk/>
            <pc:sldMk cId="3296883500" sldId="276"/>
            <ac:spMk id="15" creationId="{C1B3F445-DEA9-BCC7-FDC4-792B4DD5D375}"/>
          </ac:spMkLst>
        </pc:spChg>
        <pc:spChg chg="del">
          <ac:chgData name="vidit garg" userId="8ae30a01eec24d4b" providerId="LiveId" clId="{50FEE7C6-C750-47A3-BD0F-211F1B0ADAAF}" dt="2024-11-20T14:18:52.554" v="17196" actId="478"/>
          <ac:spMkLst>
            <pc:docMk/>
            <pc:sldMk cId="3296883500" sldId="276"/>
            <ac:spMk id="19" creationId="{D93E75FC-03A1-E37B-AF6E-5878F187407C}"/>
          </ac:spMkLst>
        </pc:spChg>
      </pc:sldChg>
      <pc:sldChg chg="addSp modSp add mod">
        <pc:chgData name="vidit garg" userId="8ae30a01eec24d4b" providerId="LiveId" clId="{50FEE7C6-C750-47A3-BD0F-211F1B0ADAAF}" dt="2024-11-20T13:36:53.886" v="17012" actId="113"/>
        <pc:sldMkLst>
          <pc:docMk/>
          <pc:sldMk cId="1708707165" sldId="277"/>
        </pc:sldMkLst>
        <pc:spChg chg="mod">
          <ac:chgData name="vidit garg" userId="8ae30a01eec24d4b" providerId="LiveId" clId="{50FEE7C6-C750-47A3-BD0F-211F1B0ADAAF}" dt="2024-11-20T13:30:47.340" v="16707" actId="14100"/>
          <ac:spMkLst>
            <pc:docMk/>
            <pc:sldMk cId="1708707165" sldId="277"/>
            <ac:spMk id="2" creationId="{56B4DFA4-7B3E-B2C3-2E0F-5E06FC14B1D6}"/>
          </ac:spMkLst>
        </pc:spChg>
        <pc:spChg chg="mod">
          <ac:chgData name="vidit garg" userId="8ae30a01eec24d4b" providerId="LiveId" clId="{50FEE7C6-C750-47A3-BD0F-211F1B0ADAAF}" dt="2024-11-20T13:36:53.886" v="17012" actId="113"/>
          <ac:spMkLst>
            <pc:docMk/>
            <pc:sldMk cId="1708707165" sldId="277"/>
            <ac:spMk id="3" creationId="{397E4B12-8CC5-EF20-CF15-3AF586F4CF7D}"/>
          </ac:spMkLst>
        </pc:spChg>
        <pc:spChg chg="add mod">
          <ac:chgData name="vidit garg" userId="8ae30a01eec24d4b" providerId="LiveId" clId="{50FEE7C6-C750-47A3-BD0F-211F1B0ADAAF}" dt="2024-11-20T13:28:11.414" v="16650" actId="207"/>
          <ac:spMkLst>
            <pc:docMk/>
            <pc:sldMk cId="1708707165" sldId="277"/>
            <ac:spMk id="4" creationId="{5BFC974B-851D-C9AA-43D6-6A50350035E7}"/>
          </ac:spMkLst>
        </pc:spChg>
        <pc:spChg chg="mod">
          <ac:chgData name="vidit garg" userId="8ae30a01eec24d4b" providerId="LiveId" clId="{50FEE7C6-C750-47A3-BD0F-211F1B0ADAAF}" dt="2024-11-20T13:31:31.382" v="16732" actId="1036"/>
          <ac:spMkLst>
            <pc:docMk/>
            <pc:sldMk cId="1708707165" sldId="277"/>
            <ac:spMk id="13" creationId="{F12A3200-35D2-41D6-89BF-DD15B4304911}"/>
          </ac:spMkLst>
        </pc:spChg>
        <pc:spChg chg="mod">
          <ac:chgData name="vidit garg" userId="8ae30a01eec24d4b" providerId="LiveId" clId="{50FEE7C6-C750-47A3-BD0F-211F1B0ADAAF}" dt="2024-11-20T13:31:43.032" v="16738" actId="1035"/>
          <ac:spMkLst>
            <pc:docMk/>
            <pc:sldMk cId="1708707165" sldId="277"/>
            <ac:spMk id="16" creationId="{C9C12411-BCF5-4C33-A630-054458EA8580}"/>
          </ac:spMkLst>
        </pc:spChg>
        <pc:spChg chg="mod">
          <ac:chgData name="vidit garg" userId="8ae30a01eec24d4b" providerId="LiveId" clId="{50FEE7C6-C750-47A3-BD0F-211F1B0ADAAF}" dt="2024-11-20T13:31:57.669" v="16741" actId="1035"/>
          <ac:spMkLst>
            <pc:docMk/>
            <pc:sldMk cId="1708707165" sldId="277"/>
            <ac:spMk id="21" creationId="{1866C39C-D484-EB5B-BC35-AA48A8ABD7A7}"/>
          </ac:spMkLst>
        </pc:spChg>
        <pc:spChg chg="mod">
          <ac:chgData name="vidit garg" userId="8ae30a01eec24d4b" providerId="LiveId" clId="{50FEE7C6-C750-47A3-BD0F-211F1B0ADAAF}" dt="2024-11-20T13:31:43.032" v="16738" actId="1035"/>
          <ac:spMkLst>
            <pc:docMk/>
            <pc:sldMk cId="1708707165" sldId="277"/>
            <ac:spMk id="28" creationId="{25E20512-3D5F-817A-B243-402162F5FF95}"/>
          </ac:spMkLst>
        </pc:spChg>
        <pc:spChg chg="add mod">
          <ac:chgData name="vidit garg" userId="8ae30a01eec24d4b" providerId="LiveId" clId="{50FEE7C6-C750-47A3-BD0F-211F1B0ADAAF}" dt="2024-11-20T13:28:32.374" v="16652"/>
          <ac:spMkLst>
            <pc:docMk/>
            <pc:sldMk cId="1708707165" sldId="277"/>
            <ac:spMk id="34" creationId="{EF0CAC83-42FC-D985-1327-0B5A5BBF454E}"/>
          </ac:spMkLst>
        </pc:spChg>
        <pc:spChg chg="add mod">
          <ac:chgData name="vidit garg" userId="8ae30a01eec24d4b" providerId="LiveId" clId="{50FEE7C6-C750-47A3-BD0F-211F1B0ADAAF}" dt="2024-11-20T13:29:10.195" v="16653"/>
          <ac:spMkLst>
            <pc:docMk/>
            <pc:sldMk cId="1708707165" sldId="277"/>
            <ac:spMk id="43" creationId="{F23EB27A-9394-E064-1AC8-97378555C5EC}"/>
          </ac:spMkLst>
        </pc:spChg>
        <pc:spChg chg="mod">
          <ac:chgData name="vidit garg" userId="8ae30a01eec24d4b" providerId="LiveId" clId="{50FEE7C6-C750-47A3-BD0F-211F1B0ADAAF}" dt="2024-11-20T13:36:25.920" v="16965" actId="20577"/>
          <ac:spMkLst>
            <pc:docMk/>
            <pc:sldMk cId="1708707165" sldId="277"/>
            <ac:spMk id="45" creationId="{1868579C-3E57-9CD5-FFA4-918635983B8D}"/>
          </ac:spMkLst>
        </pc:spChg>
        <pc:spChg chg="mod">
          <ac:chgData name="vidit garg" userId="8ae30a01eec24d4b" providerId="LiveId" clId="{50FEE7C6-C750-47A3-BD0F-211F1B0ADAAF}" dt="2024-11-20T13:32:39.314" v="16794" actId="1036"/>
          <ac:spMkLst>
            <pc:docMk/>
            <pc:sldMk cId="1708707165" sldId="277"/>
            <ac:spMk id="47" creationId="{13D58906-527F-33D0-1C03-4BA33468A0F7}"/>
          </ac:spMkLst>
        </pc:spChg>
        <pc:spChg chg="add mod">
          <ac:chgData name="vidit garg" userId="8ae30a01eec24d4b" providerId="LiveId" clId="{50FEE7C6-C750-47A3-BD0F-211F1B0ADAAF}" dt="2024-11-20T13:29:35.394" v="16654" actId="207"/>
          <ac:spMkLst>
            <pc:docMk/>
            <pc:sldMk cId="1708707165" sldId="277"/>
            <ac:spMk id="48" creationId="{F20C5550-C8F9-75A0-E720-4B7215C27278}"/>
          </ac:spMkLst>
        </pc:spChg>
        <pc:spChg chg="add mod">
          <ac:chgData name="vidit garg" userId="8ae30a01eec24d4b" providerId="LiveId" clId="{50FEE7C6-C750-47A3-BD0F-211F1B0ADAAF}" dt="2024-11-20T13:29:10.195" v="16653"/>
          <ac:spMkLst>
            <pc:docMk/>
            <pc:sldMk cId="1708707165" sldId="277"/>
            <ac:spMk id="49" creationId="{F896B6BC-EAF4-04EF-572A-813285FCB198}"/>
          </ac:spMkLst>
        </pc:spChg>
        <pc:spChg chg="add mod">
          <ac:chgData name="vidit garg" userId="8ae30a01eec24d4b" providerId="LiveId" clId="{50FEE7C6-C750-47A3-BD0F-211F1B0ADAAF}" dt="2024-11-20T13:29:10.195" v="16653"/>
          <ac:spMkLst>
            <pc:docMk/>
            <pc:sldMk cId="1708707165" sldId="277"/>
            <ac:spMk id="50" creationId="{D298FB6D-0261-A102-C27D-BAA9614BF821}"/>
          </ac:spMkLst>
        </pc:spChg>
        <pc:spChg chg="mod">
          <ac:chgData name="vidit garg" userId="8ae30a01eec24d4b" providerId="LiveId" clId="{50FEE7C6-C750-47A3-BD0F-211F1B0ADAAF}" dt="2024-11-20T13:32:34.821" v="16789" actId="1035"/>
          <ac:spMkLst>
            <pc:docMk/>
            <pc:sldMk cId="1708707165" sldId="277"/>
            <ac:spMk id="51" creationId="{99A73D08-8167-8DB1-BC5C-716E22CD14F3}"/>
          </ac:spMkLst>
        </pc:spChg>
        <pc:spChg chg="add mod">
          <ac:chgData name="vidit garg" userId="8ae30a01eec24d4b" providerId="LiveId" clId="{50FEE7C6-C750-47A3-BD0F-211F1B0ADAAF}" dt="2024-11-20T13:29:10.195" v="16653"/>
          <ac:spMkLst>
            <pc:docMk/>
            <pc:sldMk cId="1708707165" sldId="277"/>
            <ac:spMk id="52" creationId="{726171D5-1AC5-BD48-309D-2F49B274BF91}"/>
          </ac:spMkLst>
        </pc:spChg>
        <pc:spChg chg="mod">
          <ac:chgData name="vidit garg" userId="8ae30a01eec24d4b" providerId="LiveId" clId="{50FEE7C6-C750-47A3-BD0F-211F1B0ADAAF}" dt="2024-11-20T13:31:18.377" v="16721" actId="1035"/>
          <ac:spMkLst>
            <pc:docMk/>
            <pc:sldMk cId="1708707165" sldId="277"/>
            <ac:spMk id="53" creationId="{91E86DB9-3D2E-5F99-ABAE-E8DA566B682B}"/>
          </ac:spMkLst>
        </pc:spChg>
        <pc:grpChg chg="mod">
          <ac:chgData name="vidit garg" userId="8ae30a01eec24d4b" providerId="LiveId" clId="{50FEE7C6-C750-47A3-BD0F-211F1B0ADAAF}" dt="2024-11-20T13:31:43.032" v="16738" actId="1035"/>
          <ac:grpSpMkLst>
            <pc:docMk/>
            <pc:sldMk cId="1708707165" sldId="277"/>
            <ac:grpSpMk id="15" creationId="{0BFEB425-8236-71FA-4356-E3FA6CE50EEB}"/>
          </ac:grpSpMkLst>
        </pc:grpChg>
        <pc:grpChg chg="mod">
          <ac:chgData name="vidit garg" userId="8ae30a01eec24d4b" providerId="LiveId" clId="{50FEE7C6-C750-47A3-BD0F-211F1B0ADAAF}" dt="2024-11-20T13:31:57.669" v="16741" actId="1035"/>
          <ac:grpSpMkLst>
            <pc:docMk/>
            <pc:sldMk cId="1708707165" sldId="277"/>
            <ac:grpSpMk id="24" creationId="{E0F1492B-DDBD-DEA7-23E2-5E02AEB08098}"/>
          </ac:grpSpMkLst>
        </pc:grpChg>
        <pc:picChg chg="add mod">
          <ac:chgData name="vidit garg" userId="8ae30a01eec24d4b" providerId="LiveId" clId="{50FEE7C6-C750-47A3-BD0F-211F1B0ADAAF}" dt="2024-11-20T13:28:22.219" v="16651"/>
          <ac:picMkLst>
            <pc:docMk/>
            <pc:sldMk cId="1708707165" sldId="277"/>
            <ac:picMk id="11" creationId="{94D61225-BD1A-883C-1212-2D4C05C6F6AD}"/>
          </ac:picMkLst>
        </pc:picChg>
        <pc:picChg chg="mod">
          <ac:chgData name="vidit garg" userId="8ae30a01eec24d4b" providerId="LiveId" clId="{50FEE7C6-C750-47A3-BD0F-211F1B0ADAAF}" dt="2024-11-20T13:31:43.032" v="16738" actId="1035"/>
          <ac:picMkLst>
            <pc:docMk/>
            <pc:sldMk cId="1708707165" sldId="277"/>
            <ac:picMk id="25" creationId="{4C4DC804-2D18-5807-C484-AFC424C9D4EF}"/>
          </ac:picMkLst>
        </pc:picChg>
        <pc:picChg chg="mod">
          <ac:chgData name="vidit garg" userId="8ae30a01eec24d4b" providerId="LiveId" clId="{50FEE7C6-C750-47A3-BD0F-211F1B0ADAAF}" dt="2024-11-20T13:31:43.032" v="16738" actId="1035"/>
          <ac:picMkLst>
            <pc:docMk/>
            <pc:sldMk cId="1708707165" sldId="277"/>
            <ac:picMk id="29" creationId="{51B32707-76CA-CDF8-0AE3-71B4ACAE0F28}"/>
          </ac:picMkLst>
        </pc:picChg>
        <pc:picChg chg="mod">
          <ac:chgData name="vidit garg" userId="8ae30a01eec24d4b" providerId="LiveId" clId="{50FEE7C6-C750-47A3-BD0F-211F1B0ADAAF}" dt="2024-11-20T13:31:43.032" v="16738" actId="1035"/>
          <ac:picMkLst>
            <pc:docMk/>
            <pc:sldMk cId="1708707165" sldId="277"/>
            <ac:picMk id="30" creationId="{BD16438B-3580-7D5E-69EC-0F0B6FAC4518}"/>
          </ac:picMkLst>
        </pc:picChg>
        <pc:picChg chg="mod">
          <ac:chgData name="vidit garg" userId="8ae30a01eec24d4b" providerId="LiveId" clId="{50FEE7C6-C750-47A3-BD0F-211F1B0ADAAF}" dt="2024-11-20T13:32:23.998" v="16776" actId="1035"/>
          <ac:picMkLst>
            <pc:docMk/>
            <pc:sldMk cId="1708707165" sldId="277"/>
            <ac:picMk id="40" creationId="{CA0A3A68-0A66-2B81-A351-A800A6D2715D}"/>
          </ac:picMkLst>
        </pc:picChg>
        <pc:picChg chg="mod">
          <ac:chgData name="vidit garg" userId="8ae30a01eec24d4b" providerId="LiveId" clId="{50FEE7C6-C750-47A3-BD0F-211F1B0ADAAF}" dt="2024-11-20T13:32:21.071" v="16770" actId="1035"/>
          <ac:picMkLst>
            <pc:docMk/>
            <pc:sldMk cId="1708707165" sldId="277"/>
            <ac:picMk id="46" creationId="{EDA59037-772E-8F2C-9ACE-54E07BA1D99F}"/>
          </ac:picMkLst>
        </pc:picChg>
        <pc:picChg chg="mod">
          <ac:chgData name="vidit garg" userId="8ae30a01eec24d4b" providerId="LiveId" clId="{50FEE7C6-C750-47A3-BD0F-211F1B0ADAAF}" dt="2024-11-20T13:32:25.975" v="16780" actId="1035"/>
          <ac:picMkLst>
            <pc:docMk/>
            <pc:sldMk cId="1708707165" sldId="277"/>
            <ac:picMk id="54" creationId="{D7DC09E4-A3F2-9AE3-7E89-8CE0049E5865}"/>
          </ac:picMkLst>
        </pc:picChg>
        <pc:picChg chg="mod">
          <ac:chgData name="vidit garg" userId="8ae30a01eec24d4b" providerId="LiveId" clId="{50FEE7C6-C750-47A3-BD0F-211F1B0ADAAF}" dt="2024-11-20T13:31:22.130" v="16725" actId="1035"/>
          <ac:picMkLst>
            <pc:docMk/>
            <pc:sldMk cId="1708707165" sldId="277"/>
            <ac:picMk id="1028" creationId="{1313824E-5291-6399-9F29-64D3B10E40FB}"/>
          </ac:picMkLst>
        </pc:picChg>
        <pc:picChg chg="mod">
          <ac:chgData name="vidit garg" userId="8ae30a01eec24d4b" providerId="LiveId" clId="{50FEE7C6-C750-47A3-BD0F-211F1B0ADAAF}" dt="2024-11-20T13:31:57.669" v="16741" actId="1035"/>
          <ac:picMkLst>
            <pc:docMk/>
            <pc:sldMk cId="1708707165" sldId="277"/>
            <ac:picMk id="1032" creationId="{F775893D-798E-371D-DA69-728058EF35DD}"/>
          </ac:picMkLst>
        </pc:picChg>
        <pc:picChg chg="mod">
          <ac:chgData name="vidit garg" userId="8ae30a01eec24d4b" providerId="LiveId" clId="{50FEE7C6-C750-47A3-BD0F-211F1B0ADAAF}" dt="2024-11-20T13:33:48.505" v="16866" actId="1035"/>
          <ac:picMkLst>
            <pc:docMk/>
            <pc:sldMk cId="1708707165" sldId="277"/>
            <ac:picMk id="1060" creationId="{BFBEEA9E-B420-4A62-6D02-4DFC59F5DBE3}"/>
          </ac:picMkLst>
        </pc:picChg>
        <pc:cxnChg chg="mod">
          <ac:chgData name="vidit garg" userId="8ae30a01eec24d4b" providerId="LiveId" clId="{50FEE7C6-C750-47A3-BD0F-211F1B0ADAAF}" dt="2024-11-20T13:32:44.286" v="16801" actId="1035"/>
          <ac:cxnSpMkLst>
            <pc:docMk/>
            <pc:sldMk cId="1708707165" sldId="277"/>
            <ac:cxnSpMk id="5" creationId="{79816469-64A9-CD5E-23D2-BA235C752B62}"/>
          </ac:cxnSpMkLst>
        </pc:cxnChg>
        <pc:cxnChg chg="mod">
          <ac:chgData name="vidit garg" userId="8ae30a01eec24d4b" providerId="LiveId" clId="{50FEE7C6-C750-47A3-BD0F-211F1B0ADAAF}" dt="2024-11-20T13:32:10.115" v="16761" actId="14100"/>
          <ac:cxnSpMkLst>
            <pc:docMk/>
            <pc:sldMk cId="1708707165" sldId="277"/>
            <ac:cxnSpMk id="18" creationId="{983A372D-3C63-1FEE-9D5A-408AB3AF1FCF}"/>
          </ac:cxnSpMkLst>
        </pc:cxnChg>
        <pc:cxnChg chg="mod">
          <ac:chgData name="vidit garg" userId="8ae30a01eec24d4b" providerId="LiveId" clId="{50FEE7C6-C750-47A3-BD0F-211F1B0ADAAF}" dt="2024-11-20T13:33:27.876" v="16823" actId="14100"/>
          <ac:cxnSpMkLst>
            <pc:docMk/>
            <pc:sldMk cId="1708707165" sldId="277"/>
            <ac:cxnSpMk id="56" creationId="{4B56C62E-BF55-04F8-810F-D49F80E9108D}"/>
          </ac:cxnSpMkLst>
        </pc:cxnChg>
        <pc:cxnChg chg="mod">
          <ac:chgData name="vidit garg" userId="8ae30a01eec24d4b" providerId="LiveId" clId="{50FEE7C6-C750-47A3-BD0F-211F1B0ADAAF}" dt="2024-11-20T13:33:19.840" v="16822" actId="1035"/>
          <ac:cxnSpMkLst>
            <pc:docMk/>
            <pc:sldMk cId="1708707165" sldId="277"/>
            <ac:cxnSpMk id="1051" creationId="{C5FE917F-2C15-F283-E968-D67CE75825D9}"/>
          </ac:cxnSpMkLst>
        </pc:cxnChg>
      </pc:sldChg>
      <pc:sldChg chg="addSp delSp modSp add mod ord setBg">
        <pc:chgData name="vidit garg" userId="8ae30a01eec24d4b" providerId="LiveId" clId="{50FEE7C6-C750-47A3-BD0F-211F1B0ADAAF}" dt="2024-11-21T04:37:08.025" v="23029" actId="20577"/>
        <pc:sldMkLst>
          <pc:docMk/>
          <pc:sldMk cId="4227830934" sldId="278"/>
        </pc:sldMkLst>
        <pc:spChg chg="add del mod">
          <ac:chgData name="vidit garg" userId="8ae30a01eec24d4b" providerId="LiveId" clId="{50FEE7C6-C750-47A3-BD0F-211F1B0ADAAF}" dt="2024-11-20T14:22:35.400" v="17362" actId="478"/>
          <ac:spMkLst>
            <pc:docMk/>
            <pc:sldMk cId="4227830934" sldId="278"/>
            <ac:spMk id="3" creationId="{96971AC4-0A07-2238-D966-8FE91024013B}"/>
          </ac:spMkLst>
        </pc:spChg>
        <pc:spChg chg="mod">
          <ac:chgData name="vidit garg" userId="8ae30a01eec24d4b" providerId="LiveId" clId="{50FEE7C6-C750-47A3-BD0F-211F1B0ADAAF}" dt="2024-11-20T17:55:09.227" v="22114" actId="255"/>
          <ac:spMkLst>
            <pc:docMk/>
            <pc:sldMk cId="4227830934" sldId="278"/>
            <ac:spMk id="5" creationId="{F5FE7742-D457-90F7-8AEA-AB86BEC31F8D}"/>
          </ac:spMkLst>
        </pc:spChg>
        <pc:spChg chg="mod">
          <ac:chgData name="vidit garg" userId="8ae30a01eec24d4b" providerId="LiveId" clId="{50FEE7C6-C750-47A3-BD0F-211F1B0ADAAF}" dt="2024-11-20T17:55:35.308" v="22143" actId="1037"/>
          <ac:spMkLst>
            <pc:docMk/>
            <pc:sldMk cId="4227830934" sldId="278"/>
            <ac:spMk id="7" creationId="{7E1A9DBF-1236-DCFA-FC6C-0284972E408D}"/>
          </ac:spMkLst>
        </pc:spChg>
        <pc:spChg chg="add mod">
          <ac:chgData name="vidit garg" userId="8ae30a01eec24d4b" providerId="LiveId" clId="{50FEE7C6-C750-47A3-BD0F-211F1B0ADAAF}" dt="2024-11-20T15:50:35.371" v="19187" actId="1038"/>
          <ac:spMkLst>
            <pc:docMk/>
            <pc:sldMk cId="4227830934" sldId="278"/>
            <ac:spMk id="8" creationId="{706F5626-D98D-4B51-D373-C58C3D31A770}"/>
          </ac:spMkLst>
        </pc:spChg>
        <pc:spChg chg="mod">
          <ac:chgData name="vidit garg" userId="8ae30a01eec24d4b" providerId="LiveId" clId="{50FEE7C6-C750-47A3-BD0F-211F1B0ADAAF}" dt="2024-11-20T17:55:51.906" v="22175" actId="1037"/>
          <ac:spMkLst>
            <pc:docMk/>
            <pc:sldMk cId="4227830934" sldId="278"/>
            <ac:spMk id="9" creationId="{4CC5D0CF-61CC-AB54-5A83-E5115E02D277}"/>
          </ac:spMkLst>
        </pc:spChg>
        <pc:spChg chg="mod">
          <ac:chgData name="vidit garg" userId="8ae30a01eec24d4b" providerId="LiveId" clId="{50FEE7C6-C750-47A3-BD0F-211F1B0ADAAF}" dt="2024-11-20T17:56:08.164" v="22213" actId="1037"/>
          <ac:spMkLst>
            <pc:docMk/>
            <pc:sldMk cId="4227830934" sldId="278"/>
            <ac:spMk id="10" creationId="{B5176614-1664-B636-1626-81C00D689431}"/>
          </ac:spMkLst>
        </pc:spChg>
        <pc:spChg chg="mod">
          <ac:chgData name="vidit garg" userId="8ae30a01eec24d4b" providerId="LiveId" clId="{50FEE7C6-C750-47A3-BD0F-211F1B0ADAAF}" dt="2024-11-20T17:57:35.093" v="22283" actId="1038"/>
          <ac:spMkLst>
            <pc:docMk/>
            <pc:sldMk cId="4227830934" sldId="278"/>
            <ac:spMk id="11" creationId="{4DDC0F15-736B-0C62-A70E-F99FC706BB51}"/>
          </ac:spMkLst>
        </pc:spChg>
        <pc:spChg chg="add mod">
          <ac:chgData name="vidit garg" userId="8ae30a01eec24d4b" providerId="LiveId" clId="{50FEE7C6-C750-47A3-BD0F-211F1B0ADAAF}" dt="2024-11-20T15:50:22.621" v="19177" actId="1035"/>
          <ac:spMkLst>
            <pc:docMk/>
            <pc:sldMk cId="4227830934" sldId="278"/>
            <ac:spMk id="12" creationId="{FF282CA2-70E4-712F-A8AC-5822F4906B4C}"/>
          </ac:spMkLst>
        </pc:spChg>
        <pc:spChg chg="add mod">
          <ac:chgData name="vidit garg" userId="8ae30a01eec24d4b" providerId="LiveId" clId="{50FEE7C6-C750-47A3-BD0F-211F1B0ADAAF}" dt="2024-11-20T15:50:22.621" v="19177" actId="1035"/>
          <ac:spMkLst>
            <pc:docMk/>
            <pc:sldMk cId="4227830934" sldId="278"/>
            <ac:spMk id="13" creationId="{8E9F5A84-72AE-3A06-0DBE-FBCFBFA2603A}"/>
          </ac:spMkLst>
        </pc:spChg>
        <pc:spChg chg="add mod ord">
          <ac:chgData name="vidit garg" userId="8ae30a01eec24d4b" providerId="LiveId" clId="{50FEE7C6-C750-47A3-BD0F-211F1B0ADAAF}" dt="2024-11-20T15:50:22.621" v="19177" actId="1035"/>
          <ac:spMkLst>
            <pc:docMk/>
            <pc:sldMk cId="4227830934" sldId="278"/>
            <ac:spMk id="14" creationId="{429D7889-483D-9A14-AC5B-333608531185}"/>
          </ac:spMkLst>
        </pc:spChg>
        <pc:spChg chg="add del">
          <ac:chgData name="vidit garg" userId="8ae30a01eec24d4b" providerId="LiveId" clId="{50FEE7C6-C750-47A3-BD0F-211F1B0ADAAF}" dt="2024-11-20T14:27:50.300" v="17439" actId="478"/>
          <ac:spMkLst>
            <pc:docMk/>
            <pc:sldMk cId="4227830934" sldId="278"/>
            <ac:spMk id="15" creationId="{E417369D-C752-52F3-EB64-595BEA9B9AF4}"/>
          </ac:spMkLst>
        </pc:spChg>
        <pc:spChg chg="del">
          <ac:chgData name="vidit garg" userId="8ae30a01eec24d4b" providerId="LiveId" clId="{50FEE7C6-C750-47A3-BD0F-211F1B0ADAAF}" dt="2024-11-20T16:39:17.575" v="20409" actId="478"/>
          <ac:spMkLst>
            <pc:docMk/>
            <pc:sldMk cId="4227830934" sldId="278"/>
            <ac:spMk id="16" creationId="{A8B849A0-8DF8-D2AC-EF0F-EA28F05305B4}"/>
          </ac:spMkLst>
        </pc:spChg>
        <pc:spChg chg="add mod">
          <ac:chgData name="vidit garg" userId="8ae30a01eec24d4b" providerId="LiveId" clId="{50FEE7C6-C750-47A3-BD0F-211F1B0ADAAF}" dt="2024-11-20T15:53:22.140" v="19281" actId="14100"/>
          <ac:spMkLst>
            <pc:docMk/>
            <pc:sldMk cId="4227830934" sldId="278"/>
            <ac:spMk id="19" creationId="{F8677EC8-A3D0-F40A-E079-01E0CC608EFD}"/>
          </ac:spMkLst>
        </pc:spChg>
        <pc:spChg chg="add mod">
          <ac:chgData name="vidit garg" userId="8ae30a01eec24d4b" providerId="LiveId" clId="{50FEE7C6-C750-47A3-BD0F-211F1B0ADAAF}" dt="2024-11-20T15:50:22.621" v="19177" actId="1035"/>
          <ac:spMkLst>
            <pc:docMk/>
            <pc:sldMk cId="4227830934" sldId="278"/>
            <ac:spMk id="20" creationId="{85EDA94A-4DE3-241B-0C79-DB177D800559}"/>
          </ac:spMkLst>
        </pc:spChg>
        <pc:spChg chg="add mod">
          <ac:chgData name="vidit garg" userId="8ae30a01eec24d4b" providerId="LiveId" clId="{50FEE7C6-C750-47A3-BD0F-211F1B0ADAAF}" dt="2024-11-20T15:50:22.621" v="19177" actId="1035"/>
          <ac:spMkLst>
            <pc:docMk/>
            <pc:sldMk cId="4227830934" sldId="278"/>
            <ac:spMk id="21" creationId="{99890413-0CD4-2C34-3EF3-F6A37554E53E}"/>
          </ac:spMkLst>
        </pc:spChg>
        <pc:spChg chg="add mod">
          <ac:chgData name="vidit garg" userId="8ae30a01eec24d4b" providerId="LiveId" clId="{50FEE7C6-C750-47A3-BD0F-211F1B0ADAAF}" dt="2024-11-20T14:29:53.100" v="17463"/>
          <ac:spMkLst>
            <pc:docMk/>
            <pc:sldMk cId="4227830934" sldId="278"/>
            <ac:spMk id="22" creationId="{C10C644F-9AB7-3A4B-1678-AA5CD3B878E8}"/>
          </ac:spMkLst>
        </pc:spChg>
        <pc:spChg chg="add mod">
          <ac:chgData name="vidit garg" userId="8ae30a01eec24d4b" providerId="LiveId" clId="{50FEE7C6-C750-47A3-BD0F-211F1B0ADAAF}" dt="2024-11-20T15:50:22.621" v="19177" actId="1035"/>
          <ac:spMkLst>
            <pc:docMk/>
            <pc:sldMk cId="4227830934" sldId="278"/>
            <ac:spMk id="23" creationId="{5F3002FD-66FA-4199-CF7D-EEF2768D34E8}"/>
          </ac:spMkLst>
        </pc:spChg>
        <pc:spChg chg="add mod">
          <ac:chgData name="vidit garg" userId="8ae30a01eec24d4b" providerId="LiveId" clId="{50FEE7C6-C750-47A3-BD0F-211F1B0ADAAF}" dt="2024-11-20T15:50:22.621" v="19177" actId="1035"/>
          <ac:spMkLst>
            <pc:docMk/>
            <pc:sldMk cId="4227830934" sldId="278"/>
            <ac:spMk id="24" creationId="{B4EFA612-C501-C7BB-2DE5-C4C063BE9AC7}"/>
          </ac:spMkLst>
        </pc:spChg>
        <pc:spChg chg="add mod">
          <ac:chgData name="vidit garg" userId="8ae30a01eec24d4b" providerId="LiveId" clId="{50FEE7C6-C750-47A3-BD0F-211F1B0ADAAF}" dt="2024-11-20T15:50:22.621" v="19177" actId="1035"/>
          <ac:spMkLst>
            <pc:docMk/>
            <pc:sldMk cId="4227830934" sldId="278"/>
            <ac:spMk id="25" creationId="{EF0C4A0E-97C9-535C-0F9E-2AEC261EF8CD}"/>
          </ac:spMkLst>
        </pc:spChg>
        <pc:spChg chg="add mod">
          <ac:chgData name="vidit garg" userId="8ae30a01eec24d4b" providerId="LiveId" clId="{50FEE7C6-C750-47A3-BD0F-211F1B0ADAAF}" dt="2024-11-20T15:50:22.621" v="19177" actId="1035"/>
          <ac:spMkLst>
            <pc:docMk/>
            <pc:sldMk cId="4227830934" sldId="278"/>
            <ac:spMk id="28" creationId="{0560E0F3-F277-9D0F-B397-39A9CC7A553D}"/>
          </ac:spMkLst>
        </pc:spChg>
        <pc:spChg chg="add del mod">
          <ac:chgData name="vidit garg" userId="8ae30a01eec24d4b" providerId="LiveId" clId="{50FEE7C6-C750-47A3-BD0F-211F1B0ADAAF}" dt="2024-11-20T14:35:23.243" v="17627"/>
          <ac:spMkLst>
            <pc:docMk/>
            <pc:sldMk cId="4227830934" sldId="278"/>
            <ac:spMk id="29" creationId="{9952704F-CF25-FF1C-F017-70C8D1B3EB95}"/>
          </ac:spMkLst>
        </pc:spChg>
        <pc:spChg chg="add mod">
          <ac:chgData name="vidit garg" userId="8ae30a01eec24d4b" providerId="LiveId" clId="{50FEE7C6-C750-47A3-BD0F-211F1B0ADAAF}" dt="2024-11-20T15:50:22.621" v="19177" actId="1035"/>
          <ac:spMkLst>
            <pc:docMk/>
            <pc:sldMk cId="4227830934" sldId="278"/>
            <ac:spMk id="30" creationId="{CB7347B4-C586-A0BD-9127-7F8275EC4762}"/>
          </ac:spMkLst>
        </pc:spChg>
        <pc:spChg chg="add mod">
          <ac:chgData name="vidit garg" userId="8ae30a01eec24d4b" providerId="LiveId" clId="{50FEE7C6-C750-47A3-BD0F-211F1B0ADAAF}" dt="2024-11-20T16:25:24.059" v="20307" actId="20577"/>
          <ac:spMkLst>
            <pc:docMk/>
            <pc:sldMk cId="4227830934" sldId="278"/>
            <ac:spMk id="31" creationId="{8D226511-1243-B205-6D41-9255C053103B}"/>
          </ac:spMkLst>
        </pc:spChg>
        <pc:spChg chg="add del mod">
          <ac:chgData name="vidit garg" userId="8ae30a01eec24d4b" providerId="LiveId" clId="{50FEE7C6-C750-47A3-BD0F-211F1B0ADAAF}" dt="2024-11-20T14:37:50.320" v="17755" actId="478"/>
          <ac:spMkLst>
            <pc:docMk/>
            <pc:sldMk cId="4227830934" sldId="278"/>
            <ac:spMk id="32" creationId="{D173E557-65DB-738F-A616-573865B5AE69}"/>
          </ac:spMkLst>
        </pc:spChg>
        <pc:spChg chg="add mod">
          <ac:chgData name="vidit garg" userId="8ae30a01eec24d4b" providerId="LiveId" clId="{50FEE7C6-C750-47A3-BD0F-211F1B0ADAAF}" dt="2024-11-20T15:52:38.420" v="19257" actId="1076"/>
          <ac:spMkLst>
            <pc:docMk/>
            <pc:sldMk cId="4227830934" sldId="278"/>
            <ac:spMk id="33" creationId="{85483F62-6143-E713-0EFA-E415A91272F9}"/>
          </ac:spMkLst>
        </pc:spChg>
        <pc:spChg chg="add del mod">
          <ac:chgData name="vidit garg" userId="8ae30a01eec24d4b" providerId="LiveId" clId="{50FEE7C6-C750-47A3-BD0F-211F1B0ADAAF}" dt="2024-11-20T15:50:57.345" v="19198" actId="478"/>
          <ac:spMkLst>
            <pc:docMk/>
            <pc:sldMk cId="4227830934" sldId="278"/>
            <ac:spMk id="36" creationId="{2D5C8F13-F9AB-6A23-1ECC-31B5D25DBDC0}"/>
          </ac:spMkLst>
        </pc:spChg>
        <pc:spChg chg="add mod">
          <ac:chgData name="vidit garg" userId="8ae30a01eec24d4b" providerId="LiveId" clId="{50FEE7C6-C750-47A3-BD0F-211F1B0ADAAF}" dt="2024-11-21T04:01:22.090" v="22951" actId="1036"/>
          <ac:spMkLst>
            <pc:docMk/>
            <pc:sldMk cId="4227830934" sldId="278"/>
            <ac:spMk id="47" creationId="{C6545972-7C0A-EBE2-7326-50C77A6D7C2C}"/>
          </ac:spMkLst>
        </pc:spChg>
        <pc:spChg chg="add mod">
          <ac:chgData name="vidit garg" userId="8ae30a01eec24d4b" providerId="LiveId" clId="{50FEE7C6-C750-47A3-BD0F-211F1B0ADAAF}" dt="2024-11-20T15:54:14.086" v="19374" actId="1037"/>
          <ac:spMkLst>
            <pc:docMk/>
            <pc:sldMk cId="4227830934" sldId="278"/>
            <ac:spMk id="48" creationId="{F2B56E28-5B26-8AA9-8AEE-BEBC46623039}"/>
          </ac:spMkLst>
        </pc:spChg>
        <pc:spChg chg="add del mod">
          <ac:chgData name="vidit garg" userId="8ae30a01eec24d4b" providerId="LiveId" clId="{50FEE7C6-C750-47A3-BD0F-211F1B0ADAAF}" dt="2024-11-20T15:47:22.454" v="18954" actId="478"/>
          <ac:spMkLst>
            <pc:docMk/>
            <pc:sldMk cId="4227830934" sldId="278"/>
            <ac:spMk id="49" creationId="{AB80E533-EFC6-84FD-04C1-E1C9724A04B2}"/>
          </ac:spMkLst>
        </pc:spChg>
        <pc:spChg chg="add del mod">
          <ac:chgData name="vidit garg" userId="8ae30a01eec24d4b" providerId="LiveId" clId="{50FEE7C6-C750-47A3-BD0F-211F1B0ADAAF}" dt="2024-11-20T15:47:57.441" v="19028" actId="478"/>
          <ac:spMkLst>
            <pc:docMk/>
            <pc:sldMk cId="4227830934" sldId="278"/>
            <ac:spMk id="50" creationId="{A9E9414F-7474-2B65-6E03-4DD4A66895F2}"/>
          </ac:spMkLst>
        </pc:spChg>
        <pc:spChg chg="add del">
          <ac:chgData name="vidit garg" userId="8ae30a01eec24d4b" providerId="LiveId" clId="{50FEE7C6-C750-47A3-BD0F-211F1B0ADAAF}" dt="2024-11-20T15:27:30.209" v="18702" actId="478"/>
          <ac:spMkLst>
            <pc:docMk/>
            <pc:sldMk cId="4227830934" sldId="278"/>
            <ac:spMk id="51" creationId="{0FF7C749-7092-0724-731B-A1B76B1B5951}"/>
          </ac:spMkLst>
        </pc:spChg>
        <pc:spChg chg="add mod">
          <ac:chgData name="vidit garg" userId="8ae30a01eec24d4b" providerId="LiveId" clId="{50FEE7C6-C750-47A3-BD0F-211F1B0ADAAF}" dt="2024-11-21T03:56:10.435" v="22928" actId="1076"/>
          <ac:spMkLst>
            <pc:docMk/>
            <pc:sldMk cId="4227830934" sldId="278"/>
            <ac:spMk id="52" creationId="{91C3A78B-44EC-1AD5-10B2-9E6D13B005B9}"/>
          </ac:spMkLst>
        </pc:spChg>
        <pc:spChg chg="add mod">
          <ac:chgData name="vidit garg" userId="8ae30a01eec24d4b" providerId="LiveId" clId="{50FEE7C6-C750-47A3-BD0F-211F1B0ADAAF}" dt="2024-11-20T15:54:14.086" v="19374" actId="1037"/>
          <ac:spMkLst>
            <pc:docMk/>
            <pc:sldMk cId="4227830934" sldId="278"/>
            <ac:spMk id="53" creationId="{B67F0C17-FCE9-56E0-0E3D-52DE741A7936}"/>
          </ac:spMkLst>
        </pc:spChg>
        <pc:spChg chg="add mod">
          <ac:chgData name="vidit garg" userId="8ae30a01eec24d4b" providerId="LiveId" clId="{50FEE7C6-C750-47A3-BD0F-211F1B0ADAAF}" dt="2024-11-20T15:57:42.201" v="19744" actId="1035"/>
          <ac:spMkLst>
            <pc:docMk/>
            <pc:sldMk cId="4227830934" sldId="278"/>
            <ac:spMk id="54" creationId="{8AE6C99A-CEB7-25D2-CC96-32ED735CA3F0}"/>
          </ac:spMkLst>
        </pc:spChg>
        <pc:spChg chg="add mod">
          <ac:chgData name="vidit garg" userId="8ae30a01eec24d4b" providerId="LiveId" clId="{50FEE7C6-C750-47A3-BD0F-211F1B0ADAAF}" dt="2024-11-20T15:54:14.086" v="19374" actId="1037"/>
          <ac:spMkLst>
            <pc:docMk/>
            <pc:sldMk cId="4227830934" sldId="278"/>
            <ac:spMk id="55" creationId="{76F4463F-6F09-4329-6DC6-8C1013467810}"/>
          </ac:spMkLst>
        </pc:spChg>
        <pc:spChg chg="add mod">
          <ac:chgData name="vidit garg" userId="8ae30a01eec24d4b" providerId="LiveId" clId="{50FEE7C6-C750-47A3-BD0F-211F1B0ADAAF}" dt="2024-11-20T15:55:14.884" v="19710" actId="1037"/>
          <ac:spMkLst>
            <pc:docMk/>
            <pc:sldMk cId="4227830934" sldId="278"/>
            <ac:spMk id="56" creationId="{BD51EEC8-525F-D81B-A50D-D65ED94B3DDD}"/>
          </ac:spMkLst>
        </pc:spChg>
        <pc:spChg chg="add mod">
          <ac:chgData name="vidit garg" userId="8ae30a01eec24d4b" providerId="LiveId" clId="{50FEE7C6-C750-47A3-BD0F-211F1B0ADAAF}" dt="2024-11-20T15:48:56.395" v="19054" actId="1038"/>
          <ac:spMkLst>
            <pc:docMk/>
            <pc:sldMk cId="4227830934" sldId="278"/>
            <ac:spMk id="57" creationId="{3863C4D5-3D9D-6EF2-36C6-D787DCEA8EA9}"/>
          </ac:spMkLst>
        </pc:spChg>
        <pc:spChg chg="add mod ord">
          <ac:chgData name="vidit garg" userId="8ae30a01eec24d4b" providerId="LiveId" clId="{50FEE7C6-C750-47A3-BD0F-211F1B0ADAAF}" dt="2024-11-20T15:55:14.884" v="19710" actId="1037"/>
          <ac:spMkLst>
            <pc:docMk/>
            <pc:sldMk cId="4227830934" sldId="278"/>
            <ac:spMk id="60" creationId="{4A0215B5-63B5-6CC6-1950-CDFEAA3174F5}"/>
          </ac:spMkLst>
        </pc:spChg>
        <pc:spChg chg="add mod ord">
          <ac:chgData name="vidit garg" userId="8ae30a01eec24d4b" providerId="LiveId" clId="{50FEE7C6-C750-47A3-BD0F-211F1B0ADAAF}" dt="2024-11-20T15:48:23.637" v="19033" actId="167"/>
          <ac:spMkLst>
            <pc:docMk/>
            <pc:sldMk cId="4227830934" sldId="278"/>
            <ac:spMk id="61" creationId="{76D3C413-EBCF-5B2B-CE70-1E318DAC7116}"/>
          </ac:spMkLst>
        </pc:spChg>
        <pc:spChg chg="add mod ord">
          <ac:chgData name="vidit garg" userId="8ae30a01eec24d4b" providerId="LiveId" clId="{50FEE7C6-C750-47A3-BD0F-211F1B0ADAAF}" dt="2024-11-20T15:55:58.188" v="19711" actId="167"/>
          <ac:spMkLst>
            <pc:docMk/>
            <pc:sldMk cId="4227830934" sldId="278"/>
            <ac:spMk id="63" creationId="{00B08B89-7374-2B4B-6BC7-2C691F480C05}"/>
          </ac:spMkLst>
        </pc:spChg>
        <pc:spChg chg="add mod">
          <ac:chgData name="vidit garg" userId="8ae30a01eec24d4b" providerId="LiveId" clId="{50FEE7C6-C750-47A3-BD0F-211F1B0ADAAF}" dt="2024-11-20T17:52:11.198" v="21960" actId="1037"/>
          <ac:spMkLst>
            <pc:docMk/>
            <pc:sldMk cId="4227830934" sldId="278"/>
            <ac:spMk id="64" creationId="{04627F8A-1094-CE4A-7D52-DA4A3EC5C9F8}"/>
          </ac:spMkLst>
        </pc:spChg>
        <pc:spChg chg="add mod">
          <ac:chgData name="vidit garg" userId="8ae30a01eec24d4b" providerId="LiveId" clId="{50FEE7C6-C750-47A3-BD0F-211F1B0ADAAF}" dt="2024-11-20T15:57:30.336" v="19735" actId="1037"/>
          <ac:spMkLst>
            <pc:docMk/>
            <pc:sldMk cId="4227830934" sldId="278"/>
            <ac:spMk id="65" creationId="{757DE38F-A61B-B49E-2BAE-8DEBEDA74BD5}"/>
          </ac:spMkLst>
        </pc:spChg>
        <pc:spChg chg="add mod">
          <ac:chgData name="vidit garg" userId="8ae30a01eec24d4b" providerId="LiveId" clId="{50FEE7C6-C750-47A3-BD0F-211F1B0ADAAF}" dt="2024-11-20T15:57:33.322" v="19740" actId="1037"/>
          <ac:spMkLst>
            <pc:docMk/>
            <pc:sldMk cId="4227830934" sldId="278"/>
            <ac:spMk id="66" creationId="{170030F9-E5C9-4F66-59F9-76F0694FCDEF}"/>
          </ac:spMkLst>
        </pc:spChg>
        <pc:spChg chg="add mod">
          <ac:chgData name="vidit garg" userId="8ae30a01eec24d4b" providerId="LiveId" clId="{50FEE7C6-C750-47A3-BD0F-211F1B0ADAAF}" dt="2024-11-20T16:13:12.351" v="19919" actId="6549"/>
          <ac:spMkLst>
            <pc:docMk/>
            <pc:sldMk cId="4227830934" sldId="278"/>
            <ac:spMk id="75" creationId="{F10D7F8C-34F4-C1D1-91F6-B63572765020}"/>
          </ac:spMkLst>
        </pc:spChg>
        <pc:spChg chg="add mod">
          <ac:chgData name="vidit garg" userId="8ae30a01eec24d4b" providerId="LiveId" clId="{50FEE7C6-C750-47A3-BD0F-211F1B0ADAAF}" dt="2024-11-20T16:15:22.315" v="20060" actId="1076"/>
          <ac:spMkLst>
            <pc:docMk/>
            <pc:sldMk cId="4227830934" sldId="278"/>
            <ac:spMk id="76" creationId="{24056A47-9672-E069-AD5D-690B692DFA88}"/>
          </ac:spMkLst>
        </pc:spChg>
        <pc:spChg chg="add mod">
          <ac:chgData name="vidit garg" userId="8ae30a01eec24d4b" providerId="LiveId" clId="{50FEE7C6-C750-47A3-BD0F-211F1B0ADAAF}" dt="2024-11-20T16:15:27.873" v="20061" actId="1076"/>
          <ac:spMkLst>
            <pc:docMk/>
            <pc:sldMk cId="4227830934" sldId="278"/>
            <ac:spMk id="77" creationId="{1665416F-A551-FF5F-47FD-F24E0379CE8C}"/>
          </ac:spMkLst>
        </pc:spChg>
        <pc:spChg chg="add mod">
          <ac:chgData name="vidit garg" userId="8ae30a01eec24d4b" providerId="LiveId" clId="{50FEE7C6-C750-47A3-BD0F-211F1B0ADAAF}" dt="2024-11-20T16:18:14.451" v="20144" actId="20577"/>
          <ac:spMkLst>
            <pc:docMk/>
            <pc:sldMk cId="4227830934" sldId="278"/>
            <ac:spMk id="78" creationId="{F6EFEACD-4D6C-2304-AECB-1A564924C29B}"/>
          </ac:spMkLst>
        </pc:spChg>
        <pc:spChg chg="add del mod">
          <ac:chgData name="vidit garg" userId="8ae30a01eec24d4b" providerId="LiveId" clId="{50FEE7C6-C750-47A3-BD0F-211F1B0ADAAF}" dt="2024-11-20T16:40:17.166" v="20436" actId="478"/>
          <ac:spMkLst>
            <pc:docMk/>
            <pc:sldMk cId="4227830934" sldId="278"/>
            <ac:spMk id="79" creationId="{2E52F53E-AB47-85A3-EA25-EE359B88811E}"/>
          </ac:spMkLst>
        </pc:spChg>
        <pc:spChg chg="add mod">
          <ac:chgData name="vidit garg" userId="8ae30a01eec24d4b" providerId="LiveId" clId="{50FEE7C6-C750-47A3-BD0F-211F1B0ADAAF}" dt="2024-11-20T16:23:12.167" v="20284" actId="20577"/>
          <ac:spMkLst>
            <pc:docMk/>
            <pc:sldMk cId="4227830934" sldId="278"/>
            <ac:spMk id="80" creationId="{B92483FB-2DFF-0301-E096-BB6F8C7A9144}"/>
          </ac:spMkLst>
        </pc:spChg>
        <pc:spChg chg="mod">
          <ac:chgData name="vidit garg" userId="8ae30a01eec24d4b" providerId="LiveId" clId="{50FEE7C6-C750-47A3-BD0F-211F1B0ADAAF}" dt="2024-11-20T17:59:03.009" v="22290" actId="1038"/>
          <ac:spMkLst>
            <pc:docMk/>
            <pc:sldMk cId="4227830934" sldId="278"/>
            <ac:spMk id="82" creationId="{0AF39F28-B234-1CF9-4EBE-8B53CA425396}"/>
          </ac:spMkLst>
        </pc:spChg>
        <pc:spChg chg="add del">
          <ac:chgData name="vidit garg" userId="8ae30a01eec24d4b" providerId="LiveId" clId="{50FEE7C6-C750-47A3-BD0F-211F1B0ADAAF}" dt="2024-11-20T16:40:09.431" v="20412" actId="478"/>
          <ac:spMkLst>
            <pc:docMk/>
            <pc:sldMk cId="4227830934" sldId="278"/>
            <ac:spMk id="84" creationId="{0B30A2BA-3AF4-D557-29BB-A641B00FC73C}"/>
          </ac:spMkLst>
        </pc:spChg>
        <pc:spChg chg="add mod">
          <ac:chgData name="vidit garg" userId="8ae30a01eec24d4b" providerId="LiveId" clId="{50FEE7C6-C750-47A3-BD0F-211F1B0ADAAF}" dt="2024-11-20T17:09:05.423" v="20453" actId="207"/>
          <ac:spMkLst>
            <pc:docMk/>
            <pc:sldMk cId="4227830934" sldId="278"/>
            <ac:spMk id="86" creationId="{0A0CF196-9D6C-F123-C738-E21929F5E8D7}"/>
          </ac:spMkLst>
        </pc:spChg>
        <pc:spChg chg="add mod">
          <ac:chgData name="vidit garg" userId="8ae30a01eec24d4b" providerId="LiveId" clId="{50FEE7C6-C750-47A3-BD0F-211F1B0ADAAF}" dt="2024-11-20T17:11:24.295" v="20475" actId="1076"/>
          <ac:spMkLst>
            <pc:docMk/>
            <pc:sldMk cId="4227830934" sldId="278"/>
            <ac:spMk id="87" creationId="{8BEC200E-4F3F-C0AE-0EDA-8F58FB1235FC}"/>
          </ac:spMkLst>
        </pc:spChg>
        <pc:spChg chg="add del mod">
          <ac:chgData name="vidit garg" userId="8ae30a01eec24d4b" providerId="LiveId" clId="{50FEE7C6-C750-47A3-BD0F-211F1B0ADAAF}" dt="2024-11-20T17:10:40.684" v="20465" actId="478"/>
          <ac:spMkLst>
            <pc:docMk/>
            <pc:sldMk cId="4227830934" sldId="278"/>
            <ac:spMk id="88" creationId="{99B49B00-FF2E-C833-8DD6-748A95473F29}"/>
          </ac:spMkLst>
        </pc:spChg>
        <pc:spChg chg="add del mod">
          <ac:chgData name="vidit garg" userId="8ae30a01eec24d4b" providerId="LiveId" clId="{50FEE7C6-C750-47A3-BD0F-211F1B0ADAAF}" dt="2024-11-20T17:11:18.447" v="20473" actId="478"/>
          <ac:spMkLst>
            <pc:docMk/>
            <pc:sldMk cId="4227830934" sldId="278"/>
            <ac:spMk id="89" creationId="{D9D50FAC-AF49-F3C8-536D-13C3BE9CE8AD}"/>
          </ac:spMkLst>
        </pc:spChg>
        <pc:spChg chg="add mod">
          <ac:chgData name="vidit garg" userId="8ae30a01eec24d4b" providerId="LiveId" clId="{50FEE7C6-C750-47A3-BD0F-211F1B0ADAAF}" dt="2024-11-20T17:11:36.077" v="20478" actId="1036"/>
          <ac:spMkLst>
            <pc:docMk/>
            <pc:sldMk cId="4227830934" sldId="278"/>
            <ac:spMk id="90" creationId="{1627F3CF-8405-9050-0781-0C522B1DB938}"/>
          </ac:spMkLst>
        </pc:spChg>
        <pc:spChg chg="add mod">
          <ac:chgData name="vidit garg" userId="8ae30a01eec24d4b" providerId="LiveId" clId="{50FEE7C6-C750-47A3-BD0F-211F1B0ADAAF}" dt="2024-11-20T17:11:56.714" v="20480" actId="1076"/>
          <ac:spMkLst>
            <pc:docMk/>
            <pc:sldMk cId="4227830934" sldId="278"/>
            <ac:spMk id="91" creationId="{10B72525-41B4-20DE-3909-E709C84C64CB}"/>
          </ac:spMkLst>
        </pc:spChg>
        <pc:spChg chg="add mod">
          <ac:chgData name="vidit garg" userId="8ae30a01eec24d4b" providerId="LiveId" clId="{50FEE7C6-C750-47A3-BD0F-211F1B0ADAAF}" dt="2024-11-20T17:12:16.556" v="20488" actId="20577"/>
          <ac:spMkLst>
            <pc:docMk/>
            <pc:sldMk cId="4227830934" sldId="278"/>
            <ac:spMk id="92" creationId="{DD9963B4-1C62-DE6F-CB1A-F253FCE15ED5}"/>
          </ac:spMkLst>
        </pc:spChg>
        <pc:spChg chg="add mod">
          <ac:chgData name="vidit garg" userId="8ae30a01eec24d4b" providerId="LiveId" clId="{50FEE7C6-C750-47A3-BD0F-211F1B0ADAAF}" dt="2024-11-20T17:12:12.871" v="20486" actId="20577"/>
          <ac:spMkLst>
            <pc:docMk/>
            <pc:sldMk cId="4227830934" sldId="278"/>
            <ac:spMk id="93" creationId="{0FECB839-8B6C-DC20-E619-02F74F38B95F}"/>
          </ac:spMkLst>
        </pc:spChg>
        <pc:spChg chg="add mod">
          <ac:chgData name="vidit garg" userId="8ae30a01eec24d4b" providerId="LiveId" clId="{50FEE7C6-C750-47A3-BD0F-211F1B0ADAAF}" dt="2024-11-20T17:37:50.010" v="21513" actId="207"/>
          <ac:spMkLst>
            <pc:docMk/>
            <pc:sldMk cId="4227830934" sldId="278"/>
            <ac:spMk id="94" creationId="{C63B1238-E107-3C5F-84AF-3F241AD036FC}"/>
          </ac:spMkLst>
        </pc:spChg>
        <pc:spChg chg="add mod">
          <ac:chgData name="vidit garg" userId="8ae30a01eec24d4b" providerId="LiveId" clId="{50FEE7C6-C750-47A3-BD0F-211F1B0ADAAF}" dt="2024-11-20T17:17:13.607" v="20671" actId="1035"/>
          <ac:spMkLst>
            <pc:docMk/>
            <pc:sldMk cId="4227830934" sldId="278"/>
            <ac:spMk id="95" creationId="{805EFB9D-60DA-C4B0-DAA9-A9AD2ED9C051}"/>
          </ac:spMkLst>
        </pc:spChg>
        <pc:spChg chg="add mod">
          <ac:chgData name="vidit garg" userId="8ae30a01eec24d4b" providerId="LiveId" clId="{50FEE7C6-C750-47A3-BD0F-211F1B0ADAAF}" dt="2024-11-20T17:36:00.761" v="21504" actId="113"/>
          <ac:spMkLst>
            <pc:docMk/>
            <pc:sldMk cId="4227830934" sldId="278"/>
            <ac:spMk id="96" creationId="{25F5A2BE-A0A1-ACFE-AA83-8E3515A9C520}"/>
          </ac:spMkLst>
        </pc:spChg>
        <pc:spChg chg="add mod">
          <ac:chgData name="vidit garg" userId="8ae30a01eec24d4b" providerId="LiveId" clId="{50FEE7C6-C750-47A3-BD0F-211F1B0ADAAF}" dt="2024-11-20T17:35:48.861" v="21502" actId="113"/>
          <ac:spMkLst>
            <pc:docMk/>
            <pc:sldMk cId="4227830934" sldId="278"/>
            <ac:spMk id="97" creationId="{1C89A6EA-9786-3CCD-3FF5-934783558013}"/>
          </ac:spMkLst>
        </pc:spChg>
        <pc:spChg chg="add mod">
          <ac:chgData name="vidit garg" userId="8ae30a01eec24d4b" providerId="LiveId" clId="{50FEE7C6-C750-47A3-BD0F-211F1B0ADAAF}" dt="2024-11-21T03:55:16.865" v="22921" actId="14861"/>
          <ac:spMkLst>
            <pc:docMk/>
            <pc:sldMk cId="4227830934" sldId="278"/>
            <ac:spMk id="98" creationId="{329F35BC-4AA1-C70F-6668-C243D44ECFB6}"/>
          </ac:spMkLst>
        </pc:spChg>
        <pc:spChg chg="add mod">
          <ac:chgData name="vidit garg" userId="8ae30a01eec24d4b" providerId="LiveId" clId="{50FEE7C6-C750-47A3-BD0F-211F1B0ADAAF}" dt="2024-11-20T17:36:18.722" v="21507" actId="113"/>
          <ac:spMkLst>
            <pc:docMk/>
            <pc:sldMk cId="4227830934" sldId="278"/>
            <ac:spMk id="99" creationId="{C61E0FA6-0E76-0956-A363-7D017C250E8F}"/>
          </ac:spMkLst>
        </pc:spChg>
        <pc:spChg chg="add mod">
          <ac:chgData name="vidit garg" userId="8ae30a01eec24d4b" providerId="LiveId" clId="{50FEE7C6-C750-47A3-BD0F-211F1B0ADAAF}" dt="2024-11-20T17:34:05.853" v="21487" actId="20577"/>
          <ac:spMkLst>
            <pc:docMk/>
            <pc:sldMk cId="4227830934" sldId="278"/>
            <ac:spMk id="100" creationId="{65D94D64-BE00-BD7B-FB72-713BDA46120D}"/>
          </ac:spMkLst>
        </pc:spChg>
        <pc:spChg chg="add mod">
          <ac:chgData name="vidit garg" userId="8ae30a01eec24d4b" providerId="LiveId" clId="{50FEE7C6-C750-47A3-BD0F-211F1B0ADAAF}" dt="2024-11-20T17:35:32.545" v="21501" actId="1038"/>
          <ac:spMkLst>
            <pc:docMk/>
            <pc:sldMk cId="4227830934" sldId="278"/>
            <ac:spMk id="101" creationId="{0CBA5A30-7C32-0948-B8D8-8B43342E85B8}"/>
          </ac:spMkLst>
        </pc:spChg>
        <pc:spChg chg="add mod">
          <ac:chgData name="vidit garg" userId="8ae30a01eec24d4b" providerId="LiveId" clId="{50FEE7C6-C750-47A3-BD0F-211F1B0ADAAF}" dt="2024-11-20T17:41:50.865" v="21661" actId="1038"/>
          <ac:spMkLst>
            <pc:docMk/>
            <pc:sldMk cId="4227830934" sldId="278"/>
            <ac:spMk id="102" creationId="{55FB57A0-FDA1-2B37-8AFA-1EA4BD23A968}"/>
          </ac:spMkLst>
        </pc:spChg>
        <pc:spChg chg="add mod">
          <ac:chgData name="vidit garg" userId="8ae30a01eec24d4b" providerId="LiveId" clId="{50FEE7C6-C750-47A3-BD0F-211F1B0ADAAF}" dt="2024-11-20T17:50:45.653" v="21914" actId="1076"/>
          <ac:spMkLst>
            <pc:docMk/>
            <pc:sldMk cId="4227830934" sldId="278"/>
            <ac:spMk id="103" creationId="{023A2A95-B964-D32A-6F8E-C22C7E34F9E9}"/>
          </ac:spMkLst>
        </pc:spChg>
        <pc:spChg chg="add mod">
          <ac:chgData name="vidit garg" userId="8ae30a01eec24d4b" providerId="LiveId" clId="{50FEE7C6-C750-47A3-BD0F-211F1B0ADAAF}" dt="2024-11-21T04:37:08.025" v="23029" actId="20577"/>
          <ac:spMkLst>
            <pc:docMk/>
            <pc:sldMk cId="4227830934" sldId="278"/>
            <ac:spMk id="104" creationId="{97F575D9-E503-A9BA-5D78-901DBAC776EA}"/>
          </ac:spMkLst>
        </pc:spChg>
        <pc:spChg chg="add mod">
          <ac:chgData name="vidit garg" userId="8ae30a01eec24d4b" providerId="LiveId" clId="{50FEE7C6-C750-47A3-BD0F-211F1B0ADAAF}" dt="2024-11-20T17:46:59.133" v="21818" actId="1036"/>
          <ac:spMkLst>
            <pc:docMk/>
            <pc:sldMk cId="4227830934" sldId="278"/>
            <ac:spMk id="105" creationId="{DDFC2078-5063-7C8D-D32D-CCF5E6148F6C}"/>
          </ac:spMkLst>
        </pc:spChg>
        <pc:spChg chg="add mod">
          <ac:chgData name="vidit garg" userId="8ae30a01eec24d4b" providerId="LiveId" clId="{50FEE7C6-C750-47A3-BD0F-211F1B0ADAAF}" dt="2024-11-21T03:59:14.753" v="22943" actId="207"/>
          <ac:spMkLst>
            <pc:docMk/>
            <pc:sldMk cId="4227830934" sldId="278"/>
            <ac:spMk id="106" creationId="{F6CE9EA2-A138-33CC-FB04-93F27C575DC8}"/>
          </ac:spMkLst>
        </pc:spChg>
        <pc:spChg chg="add mod">
          <ac:chgData name="vidit garg" userId="8ae30a01eec24d4b" providerId="LiveId" clId="{50FEE7C6-C750-47A3-BD0F-211F1B0ADAAF}" dt="2024-11-20T18:00:22.216" v="22299" actId="14100"/>
          <ac:spMkLst>
            <pc:docMk/>
            <pc:sldMk cId="4227830934" sldId="278"/>
            <ac:spMk id="107" creationId="{9E8AA261-4D79-3573-BEA0-E87AAD159176}"/>
          </ac:spMkLst>
        </pc:spChg>
        <pc:spChg chg="add mod">
          <ac:chgData name="vidit garg" userId="8ae30a01eec24d4b" providerId="LiveId" clId="{50FEE7C6-C750-47A3-BD0F-211F1B0ADAAF}" dt="2024-11-20T18:10:40.295" v="22512" actId="20577"/>
          <ac:spMkLst>
            <pc:docMk/>
            <pc:sldMk cId="4227830934" sldId="278"/>
            <ac:spMk id="108" creationId="{7FD36E95-592C-CF1A-04D9-E8C1CD9E7913}"/>
          </ac:spMkLst>
        </pc:spChg>
        <pc:spChg chg="add mod">
          <ac:chgData name="vidit garg" userId="8ae30a01eec24d4b" providerId="LiveId" clId="{50FEE7C6-C750-47A3-BD0F-211F1B0ADAAF}" dt="2024-11-20T18:12:29.991" v="22530" actId="1036"/>
          <ac:spMkLst>
            <pc:docMk/>
            <pc:sldMk cId="4227830934" sldId="278"/>
            <ac:spMk id="109" creationId="{C75905B9-BBE5-9401-2E6F-11B54DBC0109}"/>
          </ac:spMkLst>
        </pc:spChg>
        <pc:spChg chg="add mod ord">
          <ac:chgData name="vidit garg" userId="8ae30a01eec24d4b" providerId="LiveId" clId="{50FEE7C6-C750-47A3-BD0F-211F1B0ADAAF}" dt="2024-11-21T04:10:05.940" v="22993" actId="1037"/>
          <ac:spMkLst>
            <pc:docMk/>
            <pc:sldMk cId="4227830934" sldId="278"/>
            <ac:spMk id="122" creationId="{2215C33F-863B-7384-69A1-4E38BB96DC94}"/>
          </ac:spMkLst>
        </pc:spChg>
        <pc:spChg chg="mod">
          <ac:chgData name="vidit garg" userId="8ae30a01eec24d4b" providerId="LiveId" clId="{50FEE7C6-C750-47A3-BD0F-211F1B0ADAAF}" dt="2024-11-21T04:01:44.773" v="22952" actId="207"/>
          <ac:spMkLst>
            <pc:docMk/>
            <pc:sldMk cId="4227830934" sldId="278"/>
            <ac:spMk id="145" creationId="{52231B70-A0E0-C132-1B3E-D084065123CD}"/>
          </ac:spMkLst>
        </pc:spChg>
        <pc:graphicFrameChg chg="mod modGraphic">
          <ac:chgData name="vidit garg" userId="8ae30a01eec24d4b" providerId="LiveId" clId="{50FEE7C6-C750-47A3-BD0F-211F1B0ADAAF}" dt="2024-11-20T15:16:14.572" v="18222" actId="14100"/>
          <ac:graphicFrameMkLst>
            <pc:docMk/>
            <pc:sldMk cId="4227830934" sldId="278"/>
            <ac:graphicFrameMk id="4" creationId="{7540BB4F-2AF2-1D14-CCFA-0DE33CAF1F0D}"/>
          </ac:graphicFrameMkLst>
        </pc:graphicFrameChg>
        <pc:graphicFrameChg chg="add del mod">
          <ac:chgData name="vidit garg" userId="8ae30a01eec24d4b" providerId="LiveId" clId="{50FEE7C6-C750-47A3-BD0F-211F1B0ADAAF}" dt="2024-11-20T14:49:01.079" v="18123" actId="478"/>
          <ac:graphicFrameMkLst>
            <pc:docMk/>
            <pc:sldMk cId="4227830934" sldId="278"/>
            <ac:graphicFrameMk id="45" creationId="{7DCA23F0-94E9-83B1-A34D-C5B6F63C7BA8}"/>
          </ac:graphicFrameMkLst>
        </pc:graphicFrameChg>
        <pc:graphicFrameChg chg="add del mod modGraphic">
          <ac:chgData name="vidit garg" userId="8ae30a01eec24d4b" providerId="LiveId" clId="{50FEE7C6-C750-47A3-BD0F-211F1B0ADAAF}" dt="2024-11-20T16:39:20.702" v="20410" actId="478"/>
          <ac:graphicFrameMkLst>
            <pc:docMk/>
            <pc:sldMk cId="4227830934" sldId="278"/>
            <ac:graphicFrameMk id="83" creationId="{390FCBAC-EA39-64EC-0602-22C2451A28BE}"/>
          </ac:graphicFrameMkLst>
        </pc:graphicFrameChg>
        <pc:graphicFrameChg chg="add mod">
          <ac:chgData name="vidit garg" userId="8ae30a01eec24d4b" providerId="LiveId" clId="{50FEE7C6-C750-47A3-BD0F-211F1B0ADAAF}" dt="2024-11-21T03:55:47.565" v="22922"/>
          <ac:graphicFrameMkLst>
            <pc:docMk/>
            <pc:sldMk cId="4227830934" sldId="278"/>
            <ac:graphicFrameMk id="85" creationId="{9A6CCA0D-11E6-6324-44DB-DFA38ADE2AF6}"/>
          </ac:graphicFrameMkLst>
        </pc:graphicFrameChg>
        <pc:picChg chg="add mod">
          <ac:chgData name="vidit garg" userId="8ae30a01eec24d4b" providerId="LiveId" clId="{50FEE7C6-C750-47A3-BD0F-211F1B0ADAAF}" dt="2024-11-20T15:52:42.603" v="19258" actId="1076"/>
          <ac:picMkLst>
            <pc:docMk/>
            <pc:sldMk cId="4227830934" sldId="278"/>
            <ac:picMk id="35" creationId="{6FEAE8AA-EA2C-8D04-32E7-698F9294290B}"/>
          </ac:picMkLst>
        </pc:picChg>
        <pc:picChg chg="add mod">
          <ac:chgData name="vidit garg" userId="8ae30a01eec24d4b" providerId="LiveId" clId="{50FEE7C6-C750-47A3-BD0F-211F1B0ADAAF}" dt="2024-11-20T15:54:14.086" v="19374" actId="1037"/>
          <ac:picMkLst>
            <pc:docMk/>
            <pc:sldMk cId="4227830934" sldId="278"/>
            <ac:picMk id="59" creationId="{3D489CC5-DAC1-5CEC-7F47-4334505B801C}"/>
          </ac:picMkLst>
        </pc:picChg>
        <pc:picChg chg="add mod">
          <ac:chgData name="vidit garg" userId="8ae30a01eec24d4b" providerId="LiveId" clId="{50FEE7C6-C750-47A3-BD0F-211F1B0ADAAF}" dt="2024-11-20T16:07:20.745" v="19785" actId="1076"/>
          <ac:picMkLst>
            <pc:docMk/>
            <pc:sldMk cId="4227830934" sldId="278"/>
            <ac:picMk id="68" creationId="{05372325-F96F-4F63-362B-1A61BD9684EB}"/>
          </ac:picMkLst>
        </pc:picChg>
        <pc:picChg chg="add mod">
          <ac:chgData name="vidit garg" userId="8ae30a01eec24d4b" providerId="LiveId" clId="{50FEE7C6-C750-47A3-BD0F-211F1B0ADAAF}" dt="2024-11-20T16:07:14.827" v="19784" actId="1076"/>
          <ac:picMkLst>
            <pc:docMk/>
            <pc:sldMk cId="4227830934" sldId="278"/>
            <ac:picMk id="70" creationId="{84811ADD-C897-0512-A7D0-568BC6999BFC}"/>
          </ac:picMkLst>
        </pc:picChg>
        <pc:picChg chg="add mod">
          <ac:chgData name="vidit garg" userId="8ae30a01eec24d4b" providerId="LiveId" clId="{50FEE7C6-C750-47A3-BD0F-211F1B0ADAAF}" dt="2024-11-20T16:05:50.240" v="19771" actId="1076"/>
          <ac:picMkLst>
            <pc:docMk/>
            <pc:sldMk cId="4227830934" sldId="278"/>
            <ac:picMk id="72" creationId="{D1C15A25-9410-16DD-F6E6-11075038B70D}"/>
          </ac:picMkLst>
        </pc:picChg>
        <pc:picChg chg="add mod">
          <ac:chgData name="vidit garg" userId="8ae30a01eec24d4b" providerId="LiveId" clId="{50FEE7C6-C750-47A3-BD0F-211F1B0ADAAF}" dt="2024-11-20T16:06:18.057" v="19776" actId="1076"/>
          <ac:picMkLst>
            <pc:docMk/>
            <pc:sldMk cId="4227830934" sldId="278"/>
            <ac:picMk id="74" creationId="{4A9C6528-99DD-A03C-3EA8-DF4B16E226C9}"/>
          </ac:picMkLst>
        </pc:picChg>
        <pc:picChg chg="add del mod">
          <ac:chgData name="vidit garg" userId="8ae30a01eec24d4b" providerId="LiveId" clId="{50FEE7C6-C750-47A3-BD0F-211F1B0ADAAF}" dt="2024-11-20T16:36:43.663" v="20385" actId="478"/>
          <ac:picMkLst>
            <pc:docMk/>
            <pc:sldMk cId="4227830934" sldId="278"/>
            <ac:picMk id="81" creationId="{3F8FAD63-B459-C84A-E7B7-3ACA53D0D198}"/>
          </ac:picMkLst>
        </pc:picChg>
        <pc:cxnChg chg="add mod">
          <ac:chgData name="vidit garg" userId="8ae30a01eec24d4b" providerId="LiveId" clId="{50FEE7C6-C750-47A3-BD0F-211F1B0ADAAF}" dt="2024-11-20T15:52:50.683" v="19259" actId="14100"/>
          <ac:cxnSpMkLst>
            <pc:docMk/>
            <pc:sldMk cId="4227830934" sldId="278"/>
            <ac:cxnSpMk id="27" creationId="{C7748DCA-0584-39B2-C2F1-DEC1B48135A1}"/>
          </ac:cxnSpMkLst>
        </pc:cxnChg>
        <pc:cxnChg chg="add del mod">
          <ac:chgData name="vidit garg" userId="8ae30a01eec24d4b" providerId="LiveId" clId="{50FEE7C6-C750-47A3-BD0F-211F1B0ADAAF}" dt="2024-11-20T15:53:11.678" v="19280" actId="1035"/>
          <ac:cxnSpMkLst>
            <pc:docMk/>
            <pc:sldMk cId="4227830934" sldId="278"/>
            <ac:cxnSpMk id="38" creationId="{58CCEAB5-280F-5C9C-C290-3893C75ADC49}"/>
          </ac:cxnSpMkLst>
        </pc:cxnChg>
        <pc:cxnChg chg="add mod">
          <ac:chgData name="vidit garg" userId="8ae30a01eec24d4b" providerId="LiveId" clId="{50FEE7C6-C750-47A3-BD0F-211F1B0ADAAF}" dt="2024-11-20T18:15:41.589" v="22653" actId="1035"/>
          <ac:cxnSpMkLst>
            <pc:docMk/>
            <pc:sldMk cId="4227830934" sldId="278"/>
            <ac:cxnSpMk id="111" creationId="{B3BD4E88-BB0F-35C0-F02C-DF28EC65526C}"/>
          </ac:cxnSpMkLst>
        </pc:cxnChg>
        <pc:cxnChg chg="add mod">
          <ac:chgData name="vidit garg" userId="8ae30a01eec24d4b" providerId="LiveId" clId="{50FEE7C6-C750-47A3-BD0F-211F1B0ADAAF}" dt="2024-11-20T18:15:20.968" v="22652" actId="1038"/>
          <ac:cxnSpMkLst>
            <pc:docMk/>
            <pc:sldMk cId="4227830934" sldId="278"/>
            <ac:cxnSpMk id="116" creationId="{520BACDA-901F-A158-A747-9E64C7477283}"/>
          </ac:cxnSpMkLst>
        </pc:cxnChg>
        <pc:cxnChg chg="add mod">
          <ac:chgData name="vidit garg" userId="8ae30a01eec24d4b" providerId="LiveId" clId="{50FEE7C6-C750-47A3-BD0F-211F1B0ADAAF}" dt="2024-11-21T04:00:10.295" v="22948" actId="1037"/>
          <ac:cxnSpMkLst>
            <pc:docMk/>
            <pc:sldMk cId="4227830934" sldId="278"/>
            <ac:cxnSpMk id="123" creationId="{A5BC3007-8023-ED95-0086-3FF3F7593B1A}"/>
          </ac:cxnSpMkLst>
        </pc:cxnChg>
      </pc:sldChg>
      <pc:sldChg chg="del">
        <pc:chgData name="vidit garg" userId="8ae30a01eec24d4b" providerId="LiveId" clId="{50FEE7C6-C750-47A3-BD0F-211F1B0ADAAF}" dt="2024-11-20T18:20:58.682" v="22707" actId="47"/>
        <pc:sldMkLst>
          <pc:docMk/>
          <pc:sldMk cId="9092167" sldId="279"/>
        </pc:sldMkLst>
      </pc:sldChg>
      <pc:sldChg chg="addSp delSp modSp add mod">
        <pc:chgData name="vidit garg" userId="8ae30a01eec24d4b" providerId="LiveId" clId="{50FEE7C6-C750-47A3-BD0F-211F1B0ADAAF}" dt="2024-11-21T09:51:32.982" v="24218" actId="20577"/>
        <pc:sldMkLst>
          <pc:docMk/>
          <pc:sldMk cId="4242353909" sldId="279"/>
        </pc:sldMkLst>
        <pc:spChg chg="add mod">
          <ac:chgData name="vidit garg" userId="8ae30a01eec24d4b" providerId="LiveId" clId="{50FEE7C6-C750-47A3-BD0F-211F1B0ADAAF}" dt="2024-11-21T04:39:25.678" v="23035" actId="14100"/>
          <ac:spMkLst>
            <pc:docMk/>
            <pc:sldMk cId="4242353909" sldId="279"/>
            <ac:spMk id="7" creationId="{CF54C9FB-4ECD-85B8-C4A9-2F227731D4C4}"/>
          </ac:spMkLst>
        </pc:spChg>
        <pc:spChg chg="add mod">
          <ac:chgData name="vidit garg" userId="8ae30a01eec24d4b" providerId="LiveId" clId="{50FEE7C6-C750-47A3-BD0F-211F1B0ADAAF}" dt="2024-11-21T04:40:36.310" v="23084" actId="1076"/>
          <ac:spMkLst>
            <pc:docMk/>
            <pc:sldMk cId="4242353909" sldId="279"/>
            <ac:spMk id="8" creationId="{BAFEA41C-EA43-A9FA-B7A1-2EE33611D360}"/>
          </ac:spMkLst>
        </pc:spChg>
        <pc:spChg chg="add mod">
          <ac:chgData name="vidit garg" userId="8ae30a01eec24d4b" providerId="LiveId" clId="{50FEE7C6-C750-47A3-BD0F-211F1B0ADAAF}" dt="2024-11-21T04:40:24.210" v="23082" actId="1076"/>
          <ac:spMkLst>
            <pc:docMk/>
            <pc:sldMk cId="4242353909" sldId="279"/>
            <ac:spMk id="9" creationId="{2158A60C-3664-38F5-2694-7531C0237218}"/>
          </ac:spMkLst>
        </pc:spChg>
        <pc:spChg chg="add mod">
          <ac:chgData name="vidit garg" userId="8ae30a01eec24d4b" providerId="LiveId" clId="{50FEE7C6-C750-47A3-BD0F-211F1B0ADAAF}" dt="2024-11-21T04:40:28.889" v="23083" actId="1076"/>
          <ac:spMkLst>
            <pc:docMk/>
            <pc:sldMk cId="4242353909" sldId="279"/>
            <ac:spMk id="10" creationId="{93445009-0EB1-DD1F-1C32-3BAF649CFAE5}"/>
          </ac:spMkLst>
        </pc:spChg>
        <pc:spChg chg="del">
          <ac:chgData name="vidit garg" userId="8ae30a01eec24d4b" providerId="LiveId" clId="{50FEE7C6-C750-47A3-BD0F-211F1B0ADAAF}" dt="2024-11-20T18:51:53.991" v="22736" actId="478"/>
          <ac:spMkLst>
            <pc:docMk/>
            <pc:sldMk cId="4242353909" sldId="279"/>
            <ac:spMk id="14" creationId="{04064873-661D-7384-489F-10A7891F118C}"/>
          </ac:spMkLst>
        </pc:spChg>
        <pc:spChg chg="del">
          <ac:chgData name="vidit garg" userId="8ae30a01eec24d4b" providerId="LiveId" clId="{50FEE7C6-C750-47A3-BD0F-211F1B0ADAAF}" dt="2024-11-20T18:51:52.073" v="22735" actId="478"/>
          <ac:spMkLst>
            <pc:docMk/>
            <pc:sldMk cId="4242353909" sldId="279"/>
            <ac:spMk id="15" creationId="{4D3EE7C1-C29B-B8EC-E672-84F63CD962B1}"/>
          </ac:spMkLst>
        </pc:spChg>
        <pc:spChg chg="del mod">
          <ac:chgData name="vidit garg" userId="8ae30a01eec24d4b" providerId="LiveId" clId="{50FEE7C6-C750-47A3-BD0F-211F1B0ADAAF}" dt="2024-11-20T18:51:46.780" v="22734" actId="478"/>
          <ac:spMkLst>
            <pc:docMk/>
            <pc:sldMk cId="4242353909" sldId="279"/>
            <ac:spMk id="19" creationId="{E7689913-2DF2-CFEC-9750-2ABCB2537896}"/>
          </ac:spMkLst>
        </pc:spChg>
        <pc:spChg chg="del">
          <ac:chgData name="vidit garg" userId="8ae30a01eec24d4b" providerId="LiveId" clId="{50FEE7C6-C750-47A3-BD0F-211F1B0ADAAF}" dt="2024-11-20T18:52:11.159" v="22741" actId="478"/>
          <ac:spMkLst>
            <pc:docMk/>
            <pc:sldMk cId="4242353909" sldId="279"/>
            <ac:spMk id="26" creationId="{C6869783-E892-980C-592D-4464D0029E01}"/>
          </ac:spMkLst>
        </pc:spChg>
        <pc:spChg chg="del">
          <ac:chgData name="vidit garg" userId="8ae30a01eec24d4b" providerId="LiveId" clId="{50FEE7C6-C750-47A3-BD0F-211F1B0ADAAF}" dt="2024-11-20T18:52:12.833" v="22742" actId="478"/>
          <ac:spMkLst>
            <pc:docMk/>
            <pc:sldMk cId="4242353909" sldId="279"/>
            <ac:spMk id="27" creationId="{352DA007-E44B-0C26-50B4-4DF3B5DA478F}"/>
          </ac:spMkLst>
        </pc:spChg>
        <pc:spChg chg="del">
          <ac:chgData name="vidit garg" userId="8ae30a01eec24d4b" providerId="LiveId" clId="{50FEE7C6-C750-47A3-BD0F-211F1B0ADAAF}" dt="2024-11-20T18:52:08.758" v="22740" actId="478"/>
          <ac:spMkLst>
            <pc:docMk/>
            <pc:sldMk cId="4242353909" sldId="279"/>
            <ac:spMk id="30" creationId="{0E8154DB-A57A-1637-374B-CEB6C7AC08E0}"/>
          </ac:spMkLst>
        </pc:spChg>
        <pc:spChg chg="del">
          <ac:chgData name="vidit garg" userId="8ae30a01eec24d4b" providerId="LiveId" clId="{50FEE7C6-C750-47A3-BD0F-211F1B0ADAAF}" dt="2024-11-20T18:51:57.586" v="22738" actId="478"/>
          <ac:spMkLst>
            <pc:docMk/>
            <pc:sldMk cId="4242353909" sldId="279"/>
            <ac:spMk id="37" creationId="{6C51CCDC-2CA7-7E32-EBE4-9DA88A278C9E}"/>
          </ac:spMkLst>
        </pc:spChg>
        <pc:spChg chg="del">
          <ac:chgData name="vidit garg" userId="8ae30a01eec24d4b" providerId="LiveId" clId="{50FEE7C6-C750-47A3-BD0F-211F1B0ADAAF}" dt="2024-11-20T18:51:55.772" v="22737" actId="478"/>
          <ac:spMkLst>
            <pc:docMk/>
            <pc:sldMk cId="4242353909" sldId="279"/>
            <ac:spMk id="38" creationId="{B71F81AF-677E-C20C-AA26-C98137980AFE}"/>
          </ac:spMkLst>
        </pc:spChg>
        <pc:spChg chg="del">
          <ac:chgData name="vidit garg" userId="8ae30a01eec24d4b" providerId="LiveId" clId="{50FEE7C6-C750-47A3-BD0F-211F1B0ADAAF}" dt="2024-11-20T18:52:02.512" v="22739" actId="478"/>
          <ac:spMkLst>
            <pc:docMk/>
            <pc:sldMk cId="4242353909" sldId="279"/>
            <ac:spMk id="39" creationId="{3A01E877-B3CF-3977-2BA4-9B65B5032E0B}"/>
          </ac:spMkLst>
        </pc:spChg>
        <pc:spChg chg="mod">
          <ac:chgData name="vidit garg" userId="8ae30a01eec24d4b" providerId="LiveId" clId="{50FEE7C6-C750-47A3-BD0F-211F1B0ADAAF}" dt="2024-11-21T04:10:05.045" v="22992" actId="20577"/>
          <ac:spMkLst>
            <pc:docMk/>
            <pc:sldMk cId="4242353909" sldId="279"/>
            <ac:spMk id="145" creationId="{92AFC9B3-4C75-4A12-45D7-68542959B719}"/>
          </ac:spMkLst>
        </pc:spChg>
        <pc:spChg chg="mod">
          <ac:chgData name="vidit garg" userId="8ae30a01eec24d4b" providerId="LiveId" clId="{50FEE7C6-C750-47A3-BD0F-211F1B0ADAAF}" dt="2024-11-21T09:51:32.982" v="24218" actId="20577"/>
          <ac:spMkLst>
            <pc:docMk/>
            <pc:sldMk cId="4242353909" sldId="279"/>
            <ac:spMk id="161" creationId="{F0515BEA-5B9B-6A31-0A68-7EC18BD73543}"/>
          </ac:spMkLst>
        </pc:spChg>
        <pc:graphicFrameChg chg="del">
          <ac:chgData name="vidit garg" userId="8ae30a01eec24d4b" providerId="LiveId" clId="{50FEE7C6-C750-47A3-BD0F-211F1B0ADAAF}" dt="2024-11-20T18:51:41.830" v="22732" actId="478"/>
          <ac:graphicFrameMkLst>
            <pc:docMk/>
            <pc:sldMk cId="4242353909" sldId="279"/>
            <ac:graphicFrameMk id="25" creationId="{7CBFB619-59F2-BF53-F429-577ED647EE0E}"/>
          </ac:graphicFrameMkLst>
        </pc:graphicFrameChg>
        <pc:picChg chg="add mod">
          <ac:chgData name="vidit garg" userId="8ae30a01eec24d4b" providerId="LiveId" clId="{50FEE7C6-C750-47A3-BD0F-211F1B0ADAAF}" dt="2024-11-21T04:39:05.711" v="23031" actId="1076"/>
          <ac:picMkLst>
            <pc:docMk/>
            <pc:sldMk cId="4242353909" sldId="279"/>
            <ac:picMk id="5" creationId="{6AAB6AF5-C02E-439F-06E7-9B0000B64DEC}"/>
          </ac:picMkLst>
        </pc:picChg>
        <pc:picChg chg="del">
          <ac:chgData name="vidit garg" userId="8ae30a01eec24d4b" providerId="LiveId" clId="{50FEE7C6-C750-47A3-BD0F-211F1B0ADAAF}" dt="2024-11-20T18:51:39.619" v="22731" actId="478"/>
          <ac:picMkLst>
            <pc:docMk/>
            <pc:sldMk cId="4242353909" sldId="279"/>
            <ac:picMk id="12" creationId="{8B430620-25FE-F977-D7D8-AFD8636B06AF}"/>
          </ac:picMkLst>
        </pc:picChg>
        <pc:picChg chg="del">
          <ac:chgData name="vidit garg" userId="8ae30a01eec24d4b" providerId="LiveId" clId="{50FEE7C6-C750-47A3-BD0F-211F1B0ADAAF}" dt="2024-11-20T18:52:14.257" v="22743" actId="478"/>
          <ac:picMkLst>
            <pc:docMk/>
            <pc:sldMk cId="4242353909" sldId="279"/>
            <ac:picMk id="21" creationId="{EDE07F92-4322-54C9-98CA-6B0224BF27E0}"/>
          </ac:picMkLst>
        </pc:picChg>
        <pc:cxnChg chg="del">
          <ac:chgData name="vidit garg" userId="8ae30a01eec24d4b" providerId="LiveId" clId="{50FEE7C6-C750-47A3-BD0F-211F1B0ADAAF}" dt="2024-11-20T18:52:17.003" v="22744" actId="478"/>
          <ac:cxnSpMkLst>
            <pc:docMk/>
            <pc:sldMk cId="4242353909" sldId="279"/>
            <ac:cxnSpMk id="23" creationId="{F002A374-3225-D286-3749-A0222FEDE449}"/>
          </ac:cxnSpMkLst>
        </pc:cxnChg>
        <pc:cxnChg chg="del">
          <ac:chgData name="vidit garg" userId="8ae30a01eec24d4b" providerId="LiveId" clId="{50FEE7C6-C750-47A3-BD0F-211F1B0ADAAF}" dt="2024-11-20T18:52:18.915" v="22745" actId="478"/>
          <ac:cxnSpMkLst>
            <pc:docMk/>
            <pc:sldMk cId="4242353909" sldId="279"/>
            <ac:cxnSpMk id="24" creationId="{6C978107-674D-C7DA-291F-9E2D15E9F9F5}"/>
          </ac:cxnSpMkLst>
        </pc:cxnChg>
      </pc:sldChg>
      <pc:sldChg chg="addSp delSp modSp mod">
        <pc:chgData name="vidit garg" userId="8ae30a01eec24d4b" providerId="LiveId" clId="{50FEE7C6-C750-47A3-BD0F-211F1B0ADAAF}" dt="2024-11-20T19:09:59.943" v="22832" actId="1035"/>
        <pc:sldMkLst>
          <pc:docMk/>
          <pc:sldMk cId="2790232508" sldId="280"/>
        </pc:sldMkLst>
        <pc:spChg chg="del">
          <ac:chgData name="vidit garg" userId="8ae30a01eec24d4b" providerId="LiveId" clId="{50FEE7C6-C750-47A3-BD0F-211F1B0ADAAF}" dt="2024-11-20T19:08:13.421" v="22785" actId="931"/>
          <ac:spMkLst>
            <pc:docMk/>
            <pc:sldMk cId="2790232508" sldId="280"/>
            <ac:spMk id="3" creationId="{3C0141AB-3525-4C84-F446-8AC59BBFF250}"/>
          </ac:spMkLst>
        </pc:spChg>
        <pc:picChg chg="add mod">
          <ac:chgData name="vidit garg" userId="8ae30a01eec24d4b" providerId="LiveId" clId="{50FEE7C6-C750-47A3-BD0F-211F1B0ADAAF}" dt="2024-11-20T19:08:35.772" v="22789" actId="14100"/>
          <ac:picMkLst>
            <pc:docMk/>
            <pc:sldMk cId="2790232508" sldId="280"/>
            <ac:picMk id="5" creationId="{52A04BD8-FC16-ED61-6B8E-9BD98994952D}"/>
          </ac:picMkLst>
        </pc:picChg>
        <pc:picChg chg="add mod">
          <ac:chgData name="vidit garg" userId="8ae30a01eec24d4b" providerId="LiveId" clId="{50FEE7C6-C750-47A3-BD0F-211F1B0ADAAF}" dt="2024-11-20T19:09:59.943" v="22832" actId="1035"/>
          <ac:picMkLst>
            <pc:docMk/>
            <pc:sldMk cId="2790232508" sldId="280"/>
            <ac:picMk id="6" creationId="{2A0E2183-FAE7-CE0A-CB8A-07229641DDBB}"/>
          </ac:picMkLst>
        </pc:picChg>
      </pc:sldChg>
      <pc:sldChg chg="addSp delSp modSp add mod">
        <pc:chgData name="vidit garg" userId="8ae30a01eec24d4b" providerId="LiveId" clId="{50FEE7C6-C750-47A3-BD0F-211F1B0ADAAF}" dt="2024-11-21T10:36:24.907" v="24370" actId="478"/>
        <pc:sldMkLst>
          <pc:docMk/>
          <pc:sldMk cId="4054010985" sldId="281"/>
        </pc:sldMkLst>
        <pc:spChg chg="mod">
          <ac:chgData name="vidit garg" userId="8ae30a01eec24d4b" providerId="LiveId" clId="{50FEE7C6-C750-47A3-BD0F-211F1B0ADAAF}" dt="2024-11-21T05:01:28.572" v="23257" actId="1076"/>
          <ac:spMkLst>
            <pc:docMk/>
            <pc:sldMk cId="4054010985" sldId="281"/>
            <ac:spMk id="7" creationId="{21968F13-8406-0C5B-6917-724F79647C61}"/>
          </ac:spMkLst>
        </pc:spChg>
        <pc:spChg chg="del mod">
          <ac:chgData name="vidit garg" userId="8ae30a01eec24d4b" providerId="LiveId" clId="{50FEE7C6-C750-47A3-BD0F-211F1B0ADAAF}" dt="2024-11-21T04:57:59.739" v="23094" actId="478"/>
          <ac:spMkLst>
            <pc:docMk/>
            <pc:sldMk cId="4054010985" sldId="281"/>
            <ac:spMk id="8" creationId="{9672C17C-FA83-BB9E-5238-436A88D68A06}"/>
          </ac:spMkLst>
        </pc:spChg>
        <pc:spChg chg="mod">
          <ac:chgData name="vidit garg" userId="8ae30a01eec24d4b" providerId="LiveId" clId="{50FEE7C6-C750-47A3-BD0F-211F1B0ADAAF}" dt="2024-11-21T05:02:21.553" v="23295" actId="1076"/>
          <ac:spMkLst>
            <pc:docMk/>
            <pc:sldMk cId="4054010985" sldId="281"/>
            <ac:spMk id="9" creationId="{5E54C6FB-7861-0507-A289-C35FCDB44350}"/>
          </ac:spMkLst>
        </pc:spChg>
        <pc:spChg chg="del">
          <ac:chgData name="vidit garg" userId="8ae30a01eec24d4b" providerId="LiveId" clId="{50FEE7C6-C750-47A3-BD0F-211F1B0ADAAF}" dt="2024-11-21T04:58:18.887" v="23097" actId="478"/>
          <ac:spMkLst>
            <pc:docMk/>
            <pc:sldMk cId="4054010985" sldId="281"/>
            <ac:spMk id="10" creationId="{6D6734EE-DB2A-5E06-BF27-D6A01E8ECDC9}"/>
          </ac:spMkLst>
        </pc:spChg>
        <pc:spChg chg="add mod">
          <ac:chgData name="vidit garg" userId="8ae30a01eec24d4b" providerId="LiveId" clId="{50FEE7C6-C750-47A3-BD0F-211F1B0ADAAF}" dt="2024-11-21T05:00:06.293" v="23192" actId="1076"/>
          <ac:spMkLst>
            <pc:docMk/>
            <pc:sldMk cId="4054010985" sldId="281"/>
            <ac:spMk id="12" creationId="{FD9D36C3-3EFC-4EDF-937E-07CF51C37767}"/>
          </ac:spMkLst>
        </pc:spChg>
        <pc:spChg chg="add mod">
          <ac:chgData name="vidit garg" userId="8ae30a01eec24d4b" providerId="LiveId" clId="{50FEE7C6-C750-47A3-BD0F-211F1B0ADAAF}" dt="2024-11-21T05:02:16.560" v="23294" actId="1076"/>
          <ac:spMkLst>
            <pc:docMk/>
            <pc:sldMk cId="4054010985" sldId="281"/>
            <ac:spMk id="13" creationId="{8CE8B49E-9549-DDE2-C443-29EF1B6A1CD1}"/>
          </ac:spMkLst>
        </pc:spChg>
        <pc:spChg chg="add mod">
          <ac:chgData name="vidit garg" userId="8ae30a01eec24d4b" providerId="LiveId" clId="{50FEE7C6-C750-47A3-BD0F-211F1B0ADAAF}" dt="2024-11-21T05:00:35.499" v="23207" actId="1076"/>
          <ac:spMkLst>
            <pc:docMk/>
            <pc:sldMk cId="4054010985" sldId="281"/>
            <ac:spMk id="14" creationId="{AB4D6794-47F2-5036-14D3-BB1BF20546CC}"/>
          </ac:spMkLst>
        </pc:spChg>
        <pc:spChg chg="add mod">
          <ac:chgData name="vidit garg" userId="8ae30a01eec24d4b" providerId="LiveId" clId="{50FEE7C6-C750-47A3-BD0F-211F1B0ADAAF}" dt="2024-11-21T05:02:32.860" v="23296" actId="1076"/>
          <ac:spMkLst>
            <pc:docMk/>
            <pc:sldMk cId="4054010985" sldId="281"/>
            <ac:spMk id="15" creationId="{6EED76B9-B5A9-64CC-1877-73D573639B7F}"/>
          </ac:spMkLst>
        </pc:spChg>
        <pc:spChg chg="del">
          <ac:chgData name="vidit garg" userId="8ae30a01eec24d4b" providerId="LiveId" clId="{50FEE7C6-C750-47A3-BD0F-211F1B0ADAAF}" dt="2024-11-21T05:03:18.620" v="23321" actId="478"/>
          <ac:spMkLst>
            <pc:docMk/>
            <pc:sldMk cId="4054010985" sldId="281"/>
            <ac:spMk id="17" creationId="{D33C098F-ACD1-0E96-A6AE-B974C6A684F0}"/>
          </ac:spMkLst>
        </pc:spChg>
        <pc:spChg chg="add mod">
          <ac:chgData name="vidit garg" userId="8ae30a01eec24d4b" providerId="LiveId" clId="{50FEE7C6-C750-47A3-BD0F-211F1B0ADAAF}" dt="2024-11-21T05:03:09.857" v="23320" actId="1076"/>
          <ac:spMkLst>
            <pc:docMk/>
            <pc:sldMk cId="4054010985" sldId="281"/>
            <ac:spMk id="19" creationId="{50B4B445-4957-D6E1-57D4-9980899D37B4}"/>
          </ac:spMkLst>
        </pc:spChg>
        <pc:spChg chg="add mod">
          <ac:chgData name="vidit garg" userId="8ae30a01eec24d4b" providerId="LiveId" clId="{50FEE7C6-C750-47A3-BD0F-211F1B0ADAAF}" dt="2024-11-21T10:30:45.863" v="24271" actId="1076"/>
          <ac:spMkLst>
            <pc:docMk/>
            <pc:sldMk cId="4054010985" sldId="281"/>
            <ac:spMk id="20" creationId="{C80C4803-0CB9-7ACF-CD40-404B2C619E2F}"/>
          </ac:spMkLst>
        </pc:spChg>
        <pc:spChg chg="add mod">
          <ac:chgData name="vidit garg" userId="8ae30a01eec24d4b" providerId="LiveId" clId="{50FEE7C6-C750-47A3-BD0F-211F1B0ADAAF}" dt="2024-11-21T05:05:14.444" v="23377" actId="1038"/>
          <ac:spMkLst>
            <pc:docMk/>
            <pc:sldMk cId="4054010985" sldId="281"/>
            <ac:spMk id="21" creationId="{B4CFE916-D43A-F2EB-17D7-8228F63E6B85}"/>
          </ac:spMkLst>
        </pc:spChg>
        <pc:spChg chg="add del mod">
          <ac:chgData name="vidit garg" userId="8ae30a01eec24d4b" providerId="LiveId" clId="{50FEE7C6-C750-47A3-BD0F-211F1B0ADAAF}" dt="2024-11-21T10:31:18.151" v="24274"/>
          <ac:spMkLst>
            <pc:docMk/>
            <pc:sldMk cId="4054010985" sldId="281"/>
            <ac:spMk id="22" creationId="{92206854-DD2B-8029-619E-9DCF9B5CC93D}"/>
          </ac:spMkLst>
        </pc:spChg>
        <pc:spChg chg="add mod">
          <ac:chgData name="vidit garg" userId="8ae30a01eec24d4b" providerId="LiveId" clId="{50FEE7C6-C750-47A3-BD0F-211F1B0ADAAF}" dt="2024-11-21T10:32:02.691" v="24279" actId="207"/>
          <ac:spMkLst>
            <pc:docMk/>
            <pc:sldMk cId="4054010985" sldId="281"/>
            <ac:spMk id="23" creationId="{5DF8FF66-2D3B-8D33-7842-4C5ECFD2BD70}"/>
          </ac:spMkLst>
        </pc:spChg>
        <pc:spChg chg="add mod">
          <ac:chgData name="vidit garg" userId="8ae30a01eec24d4b" providerId="LiveId" clId="{50FEE7C6-C750-47A3-BD0F-211F1B0ADAAF}" dt="2024-11-21T10:32:19.995" v="24286" actId="1076"/>
          <ac:spMkLst>
            <pc:docMk/>
            <pc:sldMk cId="4054010985" sldId="281"/>
            <ac:spMk id="24" creationId="{507A6510-4ABC-DAE6-E1AF-CBC2394934E1}"/>
          </ac:spMkLst>
        </pc:spChg>
        <pc:spChg chg="add mod">
          <ac:chgData name="vidit garg" userId="8ae30a01eec24d4b" providerId="LiveId" clId="{50FEE7C6-C750-47A3-BD0F-211F1B0ADAAF}" dt="2024-11-21T10:33:00.856" v="24320" actId="1036"/>
          <ac:spMkLst>
            <pc:docMk/>
            <pc:sldMk cId="4054010985" sldId="281"/>
            <ac:spMk id="25" creationId="{E3DD013F-9994-F93A-99B9-9F1F53CFCF4F}"/>
          </ac:spMkLst>
        </pc:spChg>
        <pc:spChg chg="add mod">
          <ac:chgData name="vidit garg" userId="8ae30a01eec24d4b" providerId="LiveId" clId="{50FEE7C6-C750-47A3-BD0F-211F1B0ADAAF}" dt="2024-11-21T10:32:25.757" v="24287" actId="1076"/>
          <ac:spMkLst>
            <pc:docMk/>
            <pc:sldMk cId="4054010985" sldId="281"/>
            <ac:spMk id="26" creationId="{B0948727-4083-6051-7CFE-FF79407A8696}"/>
          </ac:spMkLst>
        </pc:spChg>
        <pc:spChg chg="add mod">
          <ac:chgData name="vidit garg" userId="8ae30a01eec24d4b" providerId="LiveId" clId="{50FEE7C6-C750-47A3-BD0F-211F1B0ADAAF}" dt="2024-11-21T10:32:35.933" v="24289" actId="1076"/>
          <ac:spMkLst>
            <pc:docMk/>
            <pc:sldMk cId="4054010985" sldId="281"/>
            <ac:spMk id="27" creationId="{82E684EC-573E-C4CD-FEBB-57933599268A}"/>
          </ac:spMkLst>
        </pc:spChg>
        <pc:spChg chg="add mod">
          <ac:chgData name="vidit garg" userId="8ae30a01eec24d4b" providerId="LiveId" clId="{50FEE7C6-C750-47A3-BD0F-211F1B0ADAAF}" dt="2024-11-21T10:33:14.614" v="24321" actId="1076"/>
          <ac:spMkLst>
            <pc:docMk/>
            <pc:sldMk cId="4054010985" sldId="281"/>
            <ac:spMk id="30" creationId="{13A7399E-0D2B-8454-BAD2-35B60A3E48D7}"/>
          </ac:spMkLst>
        </pc:spChg>
        <pc:spChg chg="add mod">
          <ac:chgData name="vidit garg" userId="8ae30a01eec24d4b" providerId="LiveId" clId="{50FEE7C6-C750-47A3-BD0F-211F1B0ADAAF}" dt="2024-11-21T10:32:30.862" v="24288" actId="1076"/>
          <ac:spMkLst>
            <pc:docMk/>
            <pc:sldMk cId="4054010985" sldId="281"/>
            <ac:spMk id="37" creationId="{5770CF3F-D3ED-CD0A-26B1-3A2E72B7F4C8}"/>
          </ac:spMkLst>
        </pc:spChg>
        <pc:spChg chg="add mod">
          <ac:chgData name="vidit garg" userId="8ae30a01eec24d4b" providerId="LiveId" clId="{50FEE7C6-C750-47A3-BD0F-211F1B0ADAAF}" dt="2024-11-21T10:34:26.591" v="24337" actId="207"/>
          <ac:spMkLst>
            <pc:docMk/>
            <pc:sldMk cId="4054010985" sldId="281"/>
            <ac:spMk id="38" creationId="{80891FE8-1ED8-A345-9CF4-DE4C1F1845A7}"/>
          </ac:spMkLst>
        </pc:spChg>
        <pc:spChg chg="add mod">
          <ac:chgData name="vidit garg" userId="8ae30a01eec24d4b" providerId="LiveId" clId="{50FEE7C6-C750-47A3-BD0F-211F1B0ADAAF}" dt="2024-11-21T10:33:53.873" v="24332" actId="1076"/>
          <ac:spMkLst>
            <pc:docMk/>
            <pc:sldMk cId="4054010985" sldId="281"/>
            <ac:spMk id="39" creationId="{8183CF9D-360E-BB17-B546-EB3B52E0D5D3}"/>
          </ac:spMkLst>
        </pc:spChg>
        <pc:spChg chg="add mod">
          <ac:chgData name="vidit garg" userId="8ae30a01eec24d4b" providerId="LiveId" clId="{50FEE7C6-C750-47A3-BD0F-211F1B0ADAAF}" dt="2024-11-21T10:33:50.475" v="24331" actId="1076"/>
          <ac:spMkLst>
            <pc:docMk/>
            <pc:sldMk cId="4054010985" sldId="281"/>
            <ac:spMk id="40" creationId="{01988DC9-C05B-2985-E8CC-E7E63B0041E3}"/>
          </ac:spMkLst>
        </pc:spChg>
        <pc:spChg chg="add mod">
          <ac:chgData name="vidit garg" userId="8ae30a01eec24d4b" providerId="LiveId" clId="{50FEE7C6-C750-47A3-BD0F-211F1B0ADAAF}" dt="2024-11-21T10:33:44.987" v="24330" actId="1076"/>
          <ac:spMkLst>
            <pc:docMk/>
            <pc:sldMk cId="4054010985" sldId="281"/>
            <ac:spMk id="41" creationId="{B99B8077-57C7-B67E-3F86-A7688DE692E7}"/>
          </ac:spMkLst>
        </pc:spChg>
        <pc:spChg chg="add mod">
          <ac:chgData name="vidit garg" userId="8ae30a01eec24d4b" providerId="LiveId" clId="{50FEE7C6-C750-47A3-BD0F-211F1B0ADAAF}" dt="2024-11-21T10:33:38.643" v="24329" actId="1076"/>
          <ac:spMkLst>
            <pc:docMk/>
            <pc:sldMk cId="4054010985" sldId="281"/>
            <ac:spMk id="42" creationId="{AC3006F7-5BD5-F857-D59C-24435EEFB323}"/>
          </ac:spMkLst>
        </pc:spChg>
        <pc:spChg chg="add mod">
          <ac:chgData name="vidit garg" userId="8ae30a01eec24d4b" providerId="LiveId" clId="{50FEE7C6-C750-47A3-BD0F-211F1B0ADAAF}" dt="2024-11-21T10:33:26.828" v="24328" actId="1076"/>
          <ac:spMkLst>
            <pc:docMk/>
            <pc:sldMk cId="4054010985" sldId="281"/>
            <ac:spMk id="43" creationId="{01CD3DF2-CAF6-812C-744A-7ADA016DDDA4}"/>
          </ac:spMkLst>
        </pc:spChg>
        <pc:spChg chg="add mod">
          <ac:chgData name="vidit garg" userId="8ae30a01eec24d4b" providerId="LiveId" clId="{50FEE7C6-C750-47A3-BD0F-211F1B0ADAAF}" dt="2024-11-21T10:34:37.757" v="24353" actId="1076"/>
          <ac:spMkLst>
            <pc:docMk/>
            <pc:sldMk cId="4054010985" sldId="281"/>
            <ac:spMk id="44" creationId="{ED2F9364-0978-7A47-1F89-D974BD3BAE5C}"/>
          </ac:spMkLst>
        </pc:spChg>
        <pc:spChg chg="add mod">
          <ac:chgData name="vidit garg" userId="8ae30a01eec24d4b" providerId="LiveId" clId="{50FEE7C6-C750-47A3-BD0F-211F1B0ADAAF}" dt="2024-11-21T10:34:45.726" v="24354" actId="1076"/>
          <ac:spMkLst>
            <pc:docMk/>
            <pc:sldMk cId="4054010985" sldId="281"/>
            <ac:spMk id="45" creationId="{0047DAD5-710F-3983-DD92-BA65124896EC}"/>
          </ac:spMkLst>
        </pc:spChg>
        <pc:spChg chg="add del mod">
          <ac:chgData name="vidit garg" userId="8ae30a01eec24d4b" providerId="LiveId" clId="{50FEE7C6-C750-47A3-BD0F-211F1B0ADAAF}" dt="2024-11-21T10:36:24.907" v="24370" actId="478"/>
          <ac:spMkLst>
            <pc:docMk/>
            <pc:sldMk cId="4054010985" sldId="281"/>
            <ac:spMk id="46" creationId="{7AC88710-9A1F-9042-4664-1528370C329D}"/>
          </ac:spMkLst>
        </pc:spChg>
        <pc:spChg chg="add del mod">
          <ac:chgData name="vidit garg" userId="8ae30a01eec24d4b" providerId="LiveId" clId="{50FEE7C6-C750-47A3-BD0F-211F1B0ADAAF}" dt="2024-11-21T10:36:19.699" v="24369" actId="478"/>
          <ac:spMkLst>
            <pc:docMk/>
            <pc:sldMk cId="4054010985" sldId="281"/>
            <ac:spMk id="47" creationId="{DD9675BC-FA0F-D7B6-90AE-EED367CD72F9}"/>
          </ac:spMkLst>
        </pc:spChg>
        <pc:spChg chg="add mod">
          <ac:chgData name="vidit garg" userId="8ae30a01eec24d4b" providerId="LiveId" clId="{50FEE7C6-C750-47A3-BD0F-211F1B0ADAAF}" dt="2024-11-21T10:34:58.222" v="24355" actId="1076"/>
          <ac:spMkLst>
            <pc:docMk/>
            <pc:sldMk cId="4054010985" sldId="281"/>
            <ac:spMk id="48" creationId="{4A31422D-1E48-6F41-00DE-E4E45B172728}"/>
          </ac:spMkLst>
        </pc:spChg>
        <pc:spChg chg="add del mod">
          <ac:chgData name="vidit garg" userId="8ae30a01eec24d4b" providerId="LiveId" clId="{50FEE7C6-C750-47A3-BD0F-211F1B0ADAAF}" dt="2024-11-21T10:36:16.324" v="24368" actId="478"/>
          <ac:spMkLst>
            <pc:docMk/>
            <pc:sldMk cId="4054010985" sldId="281"/>
            <ac:spMk id="49" creationId="{A1723538-AA71-3B4A-0326-57886F68A458}"/>
          </ac:spMkLst>
        </pc:spChg>
        <pc:spChg chg="add del mod">
          <ac:chgData name="vidit garg" userId="8ae30a01eec24d4b" providerId="LiveId" clId="{50FEE7C6-C750-47A3-BD0F-211F1B0ADAAF}" dt="2024-11-21T10:36:13.590" v="24367" actId="478"/>
          <ac:spMkLst>
            <pc:docMk/>
            <pc:sldMk cId="4054010985" sldId="281"/>
            <ac:spMk id="50" creationId="{84870FD1-075E-F79B-CC48-CB31F1CC663C}"/>
          </ac:spMkLst>
        </pc:spChg>
        <pc:spChg chg="add mod">
          <ac:chgData name="vidit garg" userId="8ae30a01eec24d4b" providerId="LiveId" clId="{50FEE7C6-C750-47A3-BD0F-211F1B0ADAAF}" dt="2024-11-21T10:35:03.454" v="24356" actId="1076"/>
          <ac:spMkLst>
            <pc:docMk/>
            <pc:sldMk cId="4054010985" sldId="281"/>
            <ac:spMk id="51" creationId="{26E42DC4-0D1C-BC55-7A72-6ED6C3BC8ED5}"/>
          </ac:spMkLst>
        </pc:spChg>
        <pc:spChg chg="add mod">
          <ac:chgData name="vidit garg" userId="8ae30a01eec24d4b" providerId="LiveId" clId="{50FEE7C6-C750-47A3-BD0F-211F1B0ADAAF}" dt="2024-11-21T10:36:07.454" v="24365" actId="1036"/>
          <ac:spMkLst>
            <pc:docMk/>
            <pc:sldMk cId="4054010985" sldId="281"/>
            <ac:spMk id="52" creationId="{400E4F0A-CCA4-12EA-B479-713B623BD6E3}"/>
          </ac:spMkLst>
        </pc:spChg>
        <pc:spChg chg="add mod">
          <ac:chgData name="vidit garg" userId="8ae30a01eec24d4b" providerId="LiveId" clId="{50FEE7C6-C750-47A3-BD0F-211F1B0ADAAF}" dt="2024-11-21T10:35:59.728" v="24362" actId="1076"/>
          <ac:spMkLst>
            <pc:docMk/>
            <pc:sldMk cId="4054010985" sldId="281"/>
            <ac:spMk id="53" creationId="{3B23BBBA-5367-05ED-FCF0-77B15CF2B8AE}"/>
          </ac:spMkLst>
        </pc:spChg>
        <pc:spChg chg="add mod">
          <ac:chgData name="vidit garg" userId="8ae30a01eec24d4b" providerId="LiveId" clId="{50FEE7C6-C750-47A3-BD0F-211F1B0ADAAF}" dt="2024-11-21T10:35:52.048" v="24361" actId="1076"/>
          <ac:spMkLst>
            <pc:docMk/>
            <pc:sldMk cId="4054010985" sldId="281"/>
            <ac:spMk id="54" creationId="{3208F214-E71C-4ACA-0319-962C9455E31D}"/>
          </ac:spMkLst>
        </pc:spChg>
        <pc:spChg chg="add mod">
          <ac:chgData name="vidit garg" userId="8ae30a01eec24d4b" providerId="LiveId" clId="{50FEE7C6-C750-47A3-BD0F-211F1B0ADAAF}" dt="2024-11-21T10:35:48.634" v="24360" actId="1076"/>
          <ac:spMkLst>
            <pc:docMk/>
            <pc:sldMk cId="4054010985" sldId="281"/>
            <ac:spMk id="55" creationId="{9E77297C-4A61-C13A-3717-5435408F5A69}"/>
          </ac:spMkLst>
        </pc:spChg>
        <pc:spChg chg="add mod">
          <ac:chgData name="vidit garg" userId="8ae30a01eec24d4b" providerId="LiveId" clId="{50FEE7C6-C750-47A3-BD0F-211F1B0ADAAF}" dt="2024-11-21T10:35:41.204" v="24359" actId="1076"/>
          <ac:spMkLst>
            <pc:docMk/>
            <pc:sldMk cId="4054010985" sldId="281"/>
            <ac:spMk id="56" creationId="{3E7D7CDC-4624-DD7B-8204-DD9D7575A870}"/>
          </ac:spMkLst>
        </pc:spChg>
        <pc:spChg chg="add mod">
          <ac:chgData name="vidit garg" userId="8ae30a01eec24d4b" providerId="LiveId" clId="{50FEE7C6-C750-47A3-BD0F-211F1B0ADAAF}" dt="2024-11-21T10:35:34.770" v="24358" actId="1076"/>
          <ac:spMkLst>
            <pc:docMk/>
            <pc:sldMk cId="4054010985" sldId="281"/>
            <ac:spMk id="57" creationId="{67B5BD3F-77C0-B3E6-0AC4-F5393F99B235}"/>
          </ac:spMkLst>
        </pc:spChg>
        <pc:spChg chg="add mod">
          <ac:chgData name="vidit garg" userId="8ae30a01eec24d4b" providerId="LiveId" clId="{50FEE7C6-C750-47A3-BD0F-211F1B0ADAAF}" dt="2024-11-21T10:35:30.476" v="24357" actId="1076"/>
          <ac:spMkLst>
            <pc:docMk/>
            <pc:sldMk cId="4054010985" sldId="281"/>
            <ac:spMk id="58" creationId="{E33CFF00-9890-0D50-3029-8B52270D08BA}"/>
          </ac:spMkLst>
        </pc:spChg>
        <pc:spChg chg="mod">
          <ac:chgData name="vidit garg" userId="8ae30a01eec24d4b" providerId="LiveId" clId="{50FEE7C6-C750-47A3-BD0F-211F1B0ADAAF}" dt="2024-11-21T04:59:09.657" v="23168" actId="20577"/>
          <ac:spMkLst>
            <pc:docMk/>
            <pc:sldMk cId="4054010985" sldId="281"/>
            <ac:spMk id="145" creationId="{C43CF3C8-73D7-7B8A-09DA-7D9D8B5D434A}"/>
          </ac:spMkLst>
        </pc:spChg>
        <pc:spChg chg="mod">
          <ac:chgData name="vidit garg" userId="8ae30a01eec24d4b" providerId="LiveId" clId="{50FEE7C6-C750-47A3-BD0F-211F1B0ADAAF}" dt="2024-11-21T09:51:40.433" v="24220" actId="20577"/>
          <ac:spMkLst>
            <pc:docMk/>
            <pc:sldMk cId="4054010985" sldId="281"/>
            <ac:spMk id="161" creationId="{6BAD3041-59F4-08C3-D21A-19E7C152DD16}"/>
          </ac:spMkLst>
        </pc:spChg>
        <pc:picChg chg="del">
          <ac:chgData name="vidit garg" userId="8ae30a01eec24d4b" providerId="LiveId" clId="{50FEE7C6-C750-47A3-BD0F-211F1B0ADAAF}" dt="2024-11-21T04:40:59.277" v="23086" actId="478"/>
          <ac:picMkLst>
            <pc:docMk/>
            <pc:sldMk cId="4054010985" sldId="281"/>
            <ac:picMk id="5" creationId="{3BBC37D2-6F88-C915-660B-037EA0A592CE}"/>
          </ac:picMkLst>
        </pc:picChg>
        <pc:picChg chg="add mod">
          <ac:chgData name="vidit garg" userId="8ae30a01eec24d4b" providerId="LiveId" clId="{50FEE7C6-C750-47A3-BD0F-211F1B0ADAAF}" dt="2024-11-21T10:30:41.362" v="24270" actId="1076"/>
          <ac:picMkLst>
            <pc:docMk/>
            <pc:sldMk cId="4054010985" sldId="281"/>
            <ac:picMk id="11" creationId="{9F070C45-3036-ACFC-9920-CCF95B579F4D}"/>
          </ac:picMkLst>
        </pc:picChg>
      </pc:sldChg>
      <pc:sldChg chg="addSp delSp modSp add mod">
        <pc:chgData name="vidit garg" userId="8ae30a01eec24d4b" providerId="LiveId" clId="{50FEE7C6-C750-47A3-BD0F-211F1B0ADAAF}" dt="2024-11-21T09:51:46.676" v="24222" actId="20577"/>
        <pc:sldMkLst>
          <pc:docMk/>
          <pc:sldMk cId="2132413414" sldId="282"/>
        </pc:sldMkLst>
        <pc:spChg chg="add mod">
          <ac:chgData name="vidit garg" userId="8ae30a01eec24d4b" providerId="LiveId" clId="{50FEE7C6-C750-47A3-BD0F-211F1B0ADAAF}" dt="2024-11-21T05:20:43.052" v="23606" actId="1076"/>
          <ac:spMkLst>
            <pc:docMk/>
            <pc:sldMk cId="2132413414" sldId="282"/>
            <ac:spMk id="3" creationId="{0EBE5E8B-9C26-0FC7-494E-3E485B847908}"/>
          </ac:spMkLst>
        </pc:spChg>
        <pc:spChg chg="add mod">
          <ac:chgData name="vidit garg" userId="8ae30a01eec24d4b" providerId="LiveId" clId="{50FEE7C6-C750-47A3-BD0F-211F1B0ADAAF}" dt="2024-11-21T05:21:28.814" v="23622" actId="20577"/>
          <ac:spMkLst>
            <pc:docMk/>
            <pc:sldMk cId="2132413414" sldId="282"/>
            <ac:spMk id="5" creationId="{1D9B1E85-D226-E19C-EE12-7FFD8EE31F41}"/>
          </ac:spMkLst>
        </pc:spChg>
        <pc:spChg chg="del">
          <ac:chgData name="vidit garg" userId="8ae30a01eec24d4b" providerId="LiveId" clId="{50FEE7C6-C750-47A3-BD0F-211F1B0ADAAF}" dt="2024-11-21T05:08:28.856" v="23379" actId="478"/>
          <ac:spMkLst>
            <pc:docMk/>
            <pc:sldMk cId="2132413414" sldId="282"/>
            <ac:spMk id="7" creationId="{49CFC27C-904C-6316-A7AF-518E34750BC2}"/>
          </ac:spMkLst>
        </pc:spChg>
        <pc:spChg chg="del">
          <ac:chgData name="vidit garg" userId="8ae30a01eec24d4b" providerId="LiveId" clId="{50FEE7C6-C750-47A3-BD0F-211F1B0ADAAF}" dt="2024-11-21T05:08:28.856" v="23379" actId="478"/>
          <ac:spMkLst>
            <pc:docMk/>
            <pc:sldMk cId="2132413414" sldId="282"/>
            <ac:spMk id="9" creationId="{775EF72C-B9CD-950B-2C35-BF76BA42F73E}"/>
          </ac:spMkLst>
        </pc:spChg>
        <pc:spChg chg="del">
          <ac:chgData name="vidit garg" userId="8ae30a01eec24d4b" providerId="LiveId" clId="{50FEE7C6-C750-47A3-BD0F-211F1B0ADAAF}" dt="2024-11-21T05:08:28.856" v="23379" actId="478"/>
          <ac:spMkLst>
            <pc:docMk/>
            <pc:sldMk cId="2132413414" sldId="282"/>
            <ac:spMk id="12" creationId="{3831C040-8D79-4182-D815-3FAADEA27C34}"/>
          </ac:spMkLst>
        </pc:spChg>
        <pc:spChg chg="del">
          <ac:chgData name="vidit garg" userId="8ae30a01eec24d4b" providerId="LiveId" clId="{50FEE7C6-C750-47A3-BD0F-211F1B0ADAAF}" dt="2024-11-21T05:08:28.856" v="23379" actId="478"/>
          <ac:spMkLst>
            <pc:docMk/>
            <pc:sldMk cId="2132413414" sldId="282"/>
            <ac:spMk id="13" creationId="{89F916C2-3C68-BB07-FE8A-7785967EF086}"/>
          </ac:spMkLst>
        </pc:spChg>
        <pc:spChg chg="del">
          <ac:chgData name="vidit garg" userId="8ae30a01eec24d4b" providerId="LiveId" clId="{50FEE7C6-C750-47A3-BD0F-211F1B0ADAAF}" dt="2024-11-21T05:08:28.856" v="23379" actId="478"/>
          <ac:spMkLst>
            <pc:docMk/>
            <pc:sldMk cId="2132413414" sldId="282"/>
            <ac:spMk id="14" creationId="{6DACB8FD-51C3-02EE-E4C6-CE36D113F720}"/>
          </ac:spMkLst>
        </pc:spChg>
        <pc:spChg chg="del">
          <ac:chgData name="vidit garg" userId="8ae30a01eec24d4b" providerId="LiveId" clId="{50FEE7C6-C750-47A3-BD0F-211F1B0ADAAF}" dt="2024-11-21T05:08:28.856" v="23379" actId="478"/>
          <ac:spMkLst>
            <pc:docMk/>
            <pc:sldMk cId="2132413414" sldId="282"/>
            <ac:spMk id="15" creationId="{581577CF-7792-BA99-6176-C39A4957475E}"/>
          </ac:spMkLst>
        </pc:spChg>
        <pc:spChg chg="del">
          <ac:chgData name="vidit garg" userId="8ae30a01eec24d4b" providerId="LiveId" clId="{50FEE7C6-C750-47A3-BD0F-211F1B0ADAAF}" dt="2024-11-21T05:08:28.856" v="23379" actId="478"/>
          <ac:spMkLst>
            <pc:docMk/>
            <pc:sldMk cId="2132413414" sldId="282"/>
            <ac:spMk id="16" creationId="{CF067C38-49D9-DDD9-7BC8-FB4C993932D1}"/>
          </ac:spMkLst>
        </pc:spChg>
        <pc:spChg chg="del">
          <ac:chgData name="vidit garg" userId="8ae30a01eec24d4b" providerId="LiveId" clId="{50FEE7C6-C750-47A3-BD0F-211F1B0ADAAF}" dt="2024-11-21T05:08:28.856" v="23379" actId="478"/>
          <ac:spMkLst>
            <pc:docMk/>
            <pc:sldMk cId="2132413414" sldId="282"/>
            <ac:spMk id="20" creationId="{280BB940-9836-9B56-A3A6-5C27DE9361E2}"/>
          </ac:spMkLst>
        </pc:spChg>
        <pc:spChg chg="del">
          <ac:chgData name="vidit garg" userId="8ae30a01eec24d4b" providerId="LiveId" clId="{50FEE7C6-C750-47A3-BD0F-211F1B0ADAAF}" dt="2024-11-21T05:08:28.856" v="23379" actId="478"/>
          <ac:spMkLst>
            <pc:docMk/>
            <pc:sldMk cId="2132413414" sldId="282"/>
            <ac:spMk id="21" creationId="{6AEDE6DB-26D7-03CB-0111-B3637798AED7}"/>
          </ac:spMkLst>
        </pc:spChg>
        <pc:spChg chg="del">
          <ac:chgData name="vidit garg" userId="8ae30a01eec24d4b" providerId="LiveId" clId="{50FEE7C6-C750-47A3-BD0F-211F1B0ADAAF}" dt="2024-11-21T05:08:28.856" v="23379" actId="478"/>
          <ac:spMkLst>
            <pc:docMk/>
            <pc:sldMk cId="2132413414" sldId="282"/>
            <ac:spMk id="29" creationId="{FBEE8F31-B4F1-12BB-9749-C8E2399A060D}"/>
          </ac:spMkLst>
        </pc:spChg>
        <pc:spChg chg="mod">
          <ac:chgData name="vidit garg" userId="8ae30a01eec24d4b" providerId="LiveId" clId="{50FEE7C6-C750-47A3-BD0F-211F1B0ADAAF}" dt="2024-11-21T05:08:50.264" v="23459" actId="20577"/>
          <ac:spMkLst>
            <pc:docMk/>
            <pc:sldMk cId="2132413414" sldId="282"/>
            <ac:spMk id="145" creationId="{07B6947E-EB21-AE0B-4F3F-808133C5CCFA}"/>
          </ac:spMkLst>
        </pc:spChg>
        <pc:spChg chg="mod">
          <ac:chgData name="vidit garg" userId="8ae30a01eec24d4b" providerId="LiveId" clId="{50FEE7C6-C750-47A3-BD0F-211F1B0ADAAF}" dt="2024-11-21T09:51:46.676" v="24222" actId="20577"/>
          <ac:spMkLst>
            <pc:docMk/>
            <pc:sldMk cId="2132413414" sldId="282"/>
            <ac:spMk id="161" creationId="{25D6AB8E-7314-3B47-8DE4-3C01CC53BACE}"/>
          </ac:spMkLst>
        </pc:spChg>
        <pc:picChg chg="del">
          <ac:chgData name="vidit garg" userId="8ae30a01eec24d4b" providerId="LiveId" clId="{50FEE7C6-C750-47A3-BD0F-211F1B0ADAAF}" dt="2024-11-21T05:08:28.856" v="23379" actId="478"/>
          <ac:picMkLst>
            <pc:docMk/>
            <pc:sldMk cId="2132413414" sldId="282"/>
            <ac:picMk id="11" creationId="{A8635EC4-F882-6C9E-5FC7-65C5A5A5E4F0}"/>
          </ac:picMkLst>
        </pc:picChg>
      </pc:sldChg>
      <pc:sldChg chg="modSp add mod">
        <pc:chgData name="vidit garg" userId="8ae30a01eec24d4b" providerId="LiveId" clId="{50FEE7C6-C750-47A3-BD0F-211F1B0ADAAF}" dt="2024-11-21T09:51:20.779" v="24214" actId="20577"/>
        <pc:sldMkLst>
          <pc:docMk/>
          <pc:sldMk cId="902301978" sldId="283"/>
        </pc:sldMkLst>
        <pc:spChg chg="mod">
          <ac:chgData name="vidit garg" userId="8ae30a01eec24d4b" providerId="LiveId" clId="{50FEE7C6-C750-47A3-BD0F-211F1B0ADAAF}" dt="2024-11-21T09:51:20.779" v="24214" actId="20577"/>
          <ac:spMkLst>
            <pc:docMk/>
            <pc:sldMk cId="902301978" sldId="283"/>
            <ac:spMk id="161" creationId="{EE14DACE-DED1-1B3D-BB09-3A279B47E857}"/>
          </ac:spMkLst>
        </pc:spChg>
      </pc:sldChg>
    </pc:docChg>
  </pc:docChgLst>
  <pc:docChgLst>
    <pc:chgData name="Rashi bhardwaj" userId="a8ce0118b50dbc10" providerId="LiveId" clId="{E5E46110-B667-4E78-A35A-CC3AFDB851F9}"/>
    <pc:docChg chg="undo redo custSel modSld sldOrd">
      <pc:chgData name="Rashi bhardwaj" userId="a8ce0118b50dbc10" providerId="LiveId" clId="{E5E46110-B667-4E78-A35A-CC3AFDB851F9}" dt="2024-11-21T10:22:48.617" v="11190" actId="1036"/>
      <pc:docMkLst>
        <pc:docMk/>
      </pc:docMkLst>
      <pc:sldChg chg="addSp delSp modSp mod">
        <pc:chgData name="Rashi bhardwaj" userId="a8ce0118b50dbc10" providerId="LiveId" clId="{E5E46110-B667-4E78-A35A-CC3AFDB851F9}" dt="2024-11-20T18:56:08.012" v="6612" actId="478"/>
        <pc:sldMkLst>
          <pc:docMk/>
          <pc:sldMk cId="2326732794" sldId="261"/>
        </pc:sldMkLst>
        <pc:spChg chg="add del mod">
          <ac:chgData name="Rashi bhardwaj" userId="a8ce0118b50dbc10" providerId="LiveId" clId="{E5E46110-B667-4E78-A35A-CC3AFDB851F9}" dt="2024-11-20T18:56:08.012" v="6612" actId="478"/>
          <ac:spMkLst>
            <pc:docMk/>
            <pc:sldMk cId="2326732794" sldId="261"/>
            <ac:spMk id="3" creationId="{DBADA54C-B020-1B55-7628-F2F861C2F5C6}"/>
          </ac:spMkLst>
        </pc:spChg>
        <pc:picChg chg="add del">
          <ac:chgData name="Rashi bhardwaj" userId="a8ce0118b50dbc10" providerId="LiveId" clId="{E5E46110-B667-4E78-A35A-CC3AFDB851F9}" dt="2024-11-20T18:56:05.715" v="6611" actId="478"/>
          <ac:picMkLst>
            <pc:docMk/>
            <pc:sldMk cId="2326732794" sldId="261"/>
            <ac:picMk id="4" creationId="{AC019626-07FD-E756-3320-9894E9F984D4}"/>
          </ac:picMkLst>
        </pc:picChg>
      </pc:sldChg>
      <pc:sldChg chg="addSp delSp modSp mod">
        <pc:chgData name="Rashi bhardwaj" userId="a8ce0118b50dbc10" providerId="LiveId" clId="{E5E46110-B667-4E78-A35A-CC3AFDB851F9}" dt="2024-11-21T10:15:51.007" v="11159"/>
        <pc:sldMkLst>
          <pc:docMk/>
          <pc:sldMk cId="1820089965" sldId="264"/>
        </pc:sldMkLst>
        <pc:spChg chg="mod">
          <ac:chgData name="Rashi bhardwaj" userId="a8ce0118b50dbc10" providerId="LiveId" clId="{E5E46110-B667-4E78-A35A-CC3AFDB851F9}" dt="2024-11-20T18:07:22.713" v="6151" actId="1036"/>
          <ac:spMkLst>
            <pc:docMk/>
            <pc:sldMk cId="1820089965" sldId="264"/>
            <ac:spMk id="14" creationId="{83382807-677C-BC0E-D259-78EEE6D30464}"/>
          </ac:spMkLst>
        </pc:spChg>
        <pc:spChg chg="mod">
          <ac:chgData name="Rashi bhardwaj" userId="a8ce0118b50dbc10" providerId="LiveId" clId="{E5E46110-B667-4E78-A35A-CC3AFDB851F9}" dt="2024-11-20T18:07:22.713" v="6151" actId="1036"/>
          <ac:spMkLst>
            <pc:docMk/>
            <pc:sldMk cId="1820089965" sldId="264"/>
            <ac:spMk id="15" creationId="{2F91A0AF-1F27-3D12-3DDA-7732235EFBAE}"/>
          </ac:spMkLst>
        </pc:spChg>
        <pc:spChg chg="mod">
          <ac:chgData name="Rashi bhardwaj" userId="a8ce0118b50dbc10" providerId="LiveId" clId="{E5E46110-B667-4E78-A35A-CC3AFDB851F9}" dt="2024-11-20T18:07:22.713" v="6151" actId="1036"/>
          <ac:spMkLst>
            <pc:docMk/>
            <pc:sldMk cId="1820089965" sldId="264"/>
            <ac:spMk id="16" creationId="{8DDB235B-3D4D-CB43-BE0A-586DCA51B33A}"/>
          </ac:spMkLst>
        </pc:spChg>
        <pc:spChg chg="mod">
          <ac:chgData name="Rashi bhardwaj" userId="a8ce0118b50dbc10" providerId="LiveId" clId="{E5E46110-B667-4E78-A35A-CC3AFDB851F9}" dt="2024-11-20T18:07:22.713" v="6151" actId="1036"/>
          <ac:spMkLst>
            <pc:docMk/>
            <pc:sldMk cId="1820089965" sldId="264"/>
            <ac:spMk id="17" creationId="{56D8564B-CD2A-EA5F-833F-A9A684AC8660}"/>
          </ac:spMkLst>
        </pc:spChg>
        <pc:spChg chg="mod">
          <ac:chgData name="Rashi bhardwaj" userId="a8ce0118b50dbc10" providerId="LiveId" clId="{E5E46110-B667-4E78-A35A-CC3AFDB851F9}" dt="2024-11-20T20:17:01.846" v="8926" actId="1038"/>
          <ac:spMkLst>
            <pc:docMk/>
            <pc:sldMk cId="1820089965" sldId="264"/>
            <ac:spMk id="82" creationId="{C7F75225-0A42-4783-B192-BE092CAC824C}"/>
          </ac:spMkLst>
        </pc:spChg>
        <pc:graphicFrameChg chg="add del modGraphic">
          <ac:chgData name="Rashi bhardwaj" userId="a8ce0118b50dbc10" providerId="LiveId" clId="{E5E46110-B667-4E78-A35A-CC3AFDB851F9}" dt="2024-11-19T17:39:57.641" v="132" actId="21"/>
          <ac:graphicFrameMkLst>
            <pc:docMk/>
            <pc:sldMk cId="1820089965" sldId="264"/>
            <ac:graphicFrameMk id="4" creationId="{807FAE05-62F9-94E6-F181-083B6D3D2295}"/>
          </ac:graphicFrameMkLst>
        </pc:graphicFrameChg>
        <pc:picChg chg="mod">
          <ac:chgData name="Rashi bhardwaj" userId="a8ce0118b50dbc10" providerId="LiveId" clId="{E5E46110-B667-4E78-A35A-CC3AFDB851F9}" dt="2024-11-20T18:07:22.713" v="6151" actId="1036"/>
          <ac:picMkLst>
            <pc:docMk/>
            <pc:sldMk cId="1820089965" sldId="264"/>
            <ac:picMk id="13" creationId="{2F814C3A-C05D-EFB5-977D-955DA57AA271}"/>
          </ac:picMkLst>
        </pc:picChg>
        <pc:cxnChg chg="add mod">
          <ac:chgData name="Rashi bhardwaj" userId="a8ce0118b50dbc10" providerId="LiveId" clId="{E5E46110-B667-4E78-A35A-CC3AFDB851F9}" dt="2024-11-21T10:09:48.544" v="10975"/>
          <ac:cxnSpMkLst>
            <pc:docMk/>
            <pc:sldMk cId="1820089965" sldId="264"/>
            <ac:cxnSpMk id="3" creationId="{E36D1C95-0660-A976-67BD-B695540A78F2}"/>
          </ac:cxnSpMkLst>
        </pc:cxnChg>
        <pc:cxnChg chg="add mod">
          <ac:chgData name="Rashi bhardwaj" userId="a8ce0118b50dbc10" providerId="LiveId" clId="{E5E46110-B667-4E78-A35A-CC3AFDB851F9}" dt="2024-11-21T10:12:56.422" v="11129"/>
          <ac:cxnSpMkLst>
            <pc:docMk/>
            <pc:sldMk cId="1820089965" sldId="264"/>
            <ac:cxnSpMk id="5" creationId="{F6A160BD-D65B-FF40-A3E1-57D2F6392094}"/>
          </ac:cxnSpMkLst>
        </pc:cxnChg>
        <pc:cxnChg chg="add mod">
          <ac:chgData name="Rashi bhardwaj" userId="a8ce0118b50dbc10" providerId="LiveId" clId="{E5E46110-B667-4E78-A35A-CC3AFDB851F9}" dt="2024-11-21T10:15:51.007" v="11159"/>
          <ac:cxnSpMkLst>
            <pc:docMk/>
            <pc:sldMk cId="1820089965" sldId="264"/>
            <ac:cxnSpMk id="7" creationId="{52D6492D-3B56-CAED-1FFE-FD06A6EFB28E}"/>
          </ac:cxnSpMkLst>
        </pc:cxnChg>
      </pc:sldChg>
      <pc:sldChg chg="addSp delSp modSp mod">
        <pc:chgData name="Rashi bhardwaj" userId="a8ce0118b50dbc10" providerId="LiveId" clId="{E5E46110-B667-4E78-A35A-CC3AFDB851F9}" dt="2024-11-20T17:41:33.655" v="5669" actId="478"/>
        <pc:sldMkLst>
          <pc:docMk/>
          <pc:sldMk cId="3888688317" sldId="265"/>
        </pc:sldMkLst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2" creationId="{19809F06-83D6-5369-F909-05BC12C1BD88}"/>
          </ac:spMkLst>
        </pc:spChg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3" creationId="{4FDA66F8-D849-7936-072B-18A238FF983F}"/>
          </ac:spMkLst>
        </pc:spChg>
        <pc:spChg chg="add del mod modVis">
          <ac:chgData name="Rashi bhardwaj" userId="a8ce0118b50dbc10" providerId="LiveId" clId="{E5E46110-B667-4E78-A35A-CC3AFDB851F9}" dt="2024-11-20T17:41:08.489" v="5666"/>
          <ac:spMkLst>
            <pc:docMk/>
            <pc:sldMk cId="3888688317" sldId="265"/>
            <ac:spMk id="4" creationId="{236E594C-A812-12CD-4F01-F4ECC19A6C32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6" creationId="{39360D74-BE0E-435B-9A33-B4FF7143C6B1}"/>
          </ac:spMkLst>
        </pc:spChg>
        <pc:spChg chg="add del mod modVis">
          <ac:chgData name="Rashi bhardwaj" userId="a8ce0118b50dbc10" providerId="LiveId" clId="{E5E46110-B667-4E78-A35A-CC3AFDB851F9}" dt="2024-11-20T17:41:07.937" v="5137"/>
          <ac:spMkLst>
            <pc:docMk/>
            <pc:sldMk cId="3888688317" sldId="265"/>
            <ac:spMk id="7" creationId="{03D4B8CC-4FE9-01E7-7587-4E0A345D40F2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7" creationId="{E0AC6000-9835-4D2F-F6E0-0CAA68E1738D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8" creationId="{3C6E682D-F0A6-AC95-0748-C7548F323FC1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9" creationId="{4DB978D1-BEF8-9A77-7D6E-402F755C8EF6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20" creationId="{9CD0B182-F90D-07C8-5080-001CFF62AA50}"/>
          </ac:spMkLst>
        </pc:spChg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44" creationId="{595E6F89-F86F-6449-B7F9-DDB75CA29615}"/>
          </ac:spMkLst>
        </pc:spChg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45" creationId="{4AD40953-D4BD-1D9D-A6EB-3B567206CAF7}"/>
          </ac:spMkLst>
        </pc:spChg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46" creationId="{2353B8BF-704E-6218-668F-F68AFB938E88}"/>
          </ac:spMkLst>
        </pc:spChg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48" creationId="{CF28F855-CB7D-052D-CB25-50FCFBF6BB02}"/>
          </ac:spMkLst>
        </pc:spChg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49" creationId="{2A6408D4-00A3-3496-F75A-2E9638F43676}"/>
          </ac:spMkLst>
        </pc:spChg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50" creationId="{A0246EE1-2DE6-6C66-EF89-EBD4D33D1862}"/>
          </ac:spMkLst>
        </pc:spChg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52" creationId="{AF67828A-2820-9BA3-E2B6-0A93A860B3EC}"/>
          </ac:spMkLst>
        </pc:spChg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53" creationId="{2DB0FC52-6A08-AD49-701B-5FFAB4FFA7FE}"/>
          </ac:spMkLst>
        </pc:spChg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54" creationId="{07315207-AAB7-0B79-A26B-87F4F71C047E}"/>
          </ac:spMkLst>
        </pc:spChg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56" creationId="{8715B10E-A6DE-2550-F4EB-990A599032B4}"/>
          </ac:spMkLst>
        </pc:spChg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57" creationId="{7FCAAC9A-394B-0ED9-C201-4F78467FA93E}"/>
          </ac:spMkLst>
        </pc:spChg>
        <pc:spChg chg="mod topLvl">
          <ac:chgData name="Rashi bhardwaj" userId="a8ce0118b50dbc10" providerId="LiveId" clId="{E5E46110-B667-4E78-A35A-CC3AFDB851F9}" dt="2024-11-20T17:41:08.307" v="5405"/>
          <ac:spMkLst>
            <pc:docMk/>
            <pc:sldMk cId="3888688317" sldId="265"/>
            <ac:spMk id="58" creationId="{6E719DC7-2D96-4E0B-4870-E13DAA82BA3F}"/>
          </ac:spMkLst>
        </pc:spChg>
        <pc:spChg chg="mod ord topLvl">
          <ac:chgData name="Rashi bhardwaj" userId="a8ce0118b50dbc10" providerId="LiveId" clId="{E5E46110-B667-4E78-A35A-CC3AFDB851F9}" dt="2024-11-20T17:41:08.440" v="5642"/>
          <ac:spMkLst>
            <pc:docMk/>
            <pc:sldMk cId="3888688317" sldId="265"/>
            <ac:spMk id="64" creationId="{35EA60D1-B78D-10B6-5A64-2F333C4EE464}"/>
          </ac:spMkLst>
        </pc:spChg>
        <pc:spChg chg="mod ord topLvl">
          <ac:chgData name="Rashi bhardwaj" userId="a8ce0118b50dbc10" providerId="LiveId" clId="{E5E46110-B667-4E78-A35A-CC3AFDB851F9}" dt="2024-11-20T17:41:08.440" v="5640"/>
          <ac:spMkLst>
            <pc:docMk/>
            <pc:sldMk cId="3888688317" sldId="265"/>
            <ac:spMk id="65" creationId="{04C973ED-7157-83C5-73C1-8BE5A9C5A3BB}"/>
          </ac:spMkLst>
        </pc:spChg>
        <pc:spChg chg="mod ord topLvl">
          <ac:chgData name="Rashi bhardwaj" userId="a8ce0118b50dbc10" providerId="LiveId" clId="{E5E46110-B667-4E78-A35A-CC3AFDB851F9}" dt="2024-11-20T17:41:08.440" v="5638"/>
          <ac:spMkLst>
            <pc:docMk/>
            <pc:sldMk cId="3888688317" sldId="265"/>
            <ac:spMk id="67" creationId="{78991240-735E-2015-43A9-01D00B6871A5}"/>
          </ac:spMkLst>
        </pc:spChg>
        <pc:spChg chg="mod ord topLvl">
          <ac:chgData name="Rashi bhardwaj" userId="a8ce0118b50dbc10" providerId="LiveId" clId="{E5E46110-B667-4E78-A35A-CC3AFDB851F9}" dt="2024-11-20T17:41:08.440" v="5636"/>
          <ac:spMkLst>
            <pc:docMk/>
            <pc:sldMk cId="3888688317" sldId="265"/>
            <ac:spMk id="68" creationId="{ACDF6BF3-5164-4BC7-CB61-9D526AF63AAC}"/>
          </ac:spMkLst>
        </pc:spChg>
        <pc:spChg chg="mod ord topLvl">
          <ac:chgData name="Rashi bhardwaj" userId="a8ce0118b50dbc10" providerId="LiveId" clId="{E5E46110-B667-4E78-A35A-CC3AFDB851F9}" dt="2024-11-20T17:41:08.440" v="5634"/>
          <ac:spMkLst>
            <pc:docMk/>
            <pc:sldMk cId="3888688317" sldId="265"/>
            <ac:spMk id="70" creationId="{8B26D55D-C269-BA6E-5A8E-EAD519D2B208}"/>
          </ac:spMkLst>
        </pc:spChg>
        <pc:spChg chg="mod ord topLvl">
          <ac:chgData name="Rashi bhardwaj" userId="a8ce0118b50dbc10" providerId="LiveId" clId="{E5E46110-B667-4E78-A35A-CC3AFDB851F9}" dt="2024-11-20T17:41:08.440" v="5632"/>
          <ac:spMkLst>
            <pc:docMk/>
            <pc:sldMk cId="3888688317" sldId="265"/>
            <ac:spMk id="71" creationId="{B68C7FF7-1A1C-17A8-E362-D945166C1F1F}"/>
          </ac:spMkLst>
        </pc:spChg>
        <pc:spChg chg="mod ord topLvl">
          <ac:chgData name="Rashi bhardwaj" userId="a8ce0118b50dbc10" providerId="LiveId" clId="{E5E46110-B667-4E78-A35A-CC3AFDB851F9}" dt="2024-11-20T17:41:08.439" v="5630"/>
          <ac:spMkLst>
            <pc:docMk/>
            <pc:sldMk cId="3888688317" sldId="265"/>
            <ac:spMk id="72" creationId="{8B0CA395-7E49-5983-5111-BF1AF9FB842E}"/>
          </ac:spMkLst>
        </pc:spChg>
        <pc:spChg chg="mod ord topLvl">
          <ac:chgData name="Rashi bhardwaj" userId="a8ce0118b50dbc10" providerId="LiveId" clId="{E5E46110-B667-4E78-A35A-CC3AFDB851F9}" dt="2024-11-20T17:41:08.438" v="5628"/>
          <ac:spMkLst>
            <pc:docMk/>
            <pc:sldMk cId="3888688317" sldId="265"/>
            <ac:spMk id="73" creationId="{AFBD0969-2D55-31B2-1DA7-1150F1F23BA8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82" creationId="{C7F75225-0A42-4783-B192-BE092CAC824C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85" creationId="{CFC45D58-C612-4FD3-AA85-092BC2779A37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00" creationId="{17874560-26ED-48DA-AC66-BDA89177129D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02" creationId="{280A8E37-D664-4584-A305-B31BBE866353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03" creationId="{6FDADA6B-52B4-4AEB-B1B4-870D5667E85E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05" creationId="{593547E4-346E-41B1-BE55-3432581928C9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11" creationId="{D3BCB941-A2C6-4D1D-89BF-28D84A9969A6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14" creationId="{BE55215C-7DBF-458A-8A72-603D084759B0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29" creationId="{BDB6A81B-213A-495B-A2C3-FE86E5202E50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30" creationId="{1D4A4BC6-10E1-4C33-9F66-4F3962FDDC71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31" creationId="{9693A7B2-0407-4775-B7D8-E9C845503569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32" creationId="{317C9E5A-6561-4EAB-BB2D-097837A6AFF0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33" creationId="{D577CF57-4A61-4B6A-BBAA-B6582A4074DF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34" creationId="{72DE5C8C-354C-45CE-9A20-70371D2E2478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49" creationId="{59016B39-3CC5-412F-8FBC-2A2C25DCD072}"/>
          </ac:spMkLst>
        </pc:spChg>
        <pc:spChg chg="mod ord topLvl">
          <ac:chgData name="Rashi bhardwaj" userId="a8ce0118b50dbc10" providerId="LiveId" clId="{E5E46110-B667-4E78-A35A-CC3AFDB851F9}" dt="2024-11-20T17:41:08.341" v="5438"/>
          <ac:spMkLst>
            <pc:docMk/>
            <pc:sldMk cId="3888688317" sldId="265"/>
            <ac:spMk id="171" creationId="{A836A20F-F44A-B9AD-7137-5F0632CD0CA7}"/>
          </ac:spMkLst>
        </pc:spChg>
        <pc:spChg chg="mod ord topLvl">
          <ac:chgData name="Rashi bhardwaj" userId="a8ce0118b50dbc10" providerId="LiveId" clId="{E5E46110-B667-4E78-A35A-CC3AFDB851F9}" dt="2024-11-20T17:41:08.341" v="5436"/>
          <ac:spMkLst>
            <pc:docMk/>
            <pc:sldMk cId="3888688317" sldId="265"/>
            <ac:spMk id="172" creationId="{E537614F-0D34-4411-3F1E-49657EBE13B1}"/>
          </ac:spMkLst>
        </pc:spChg>
        <pc:spChg chg="mod ord topLvl">
          <ac:chgData name="Rashi bhardwaj" userId="a8ce0118b50dbc10" providerId="LiveId" clId="{E5E46110-B667-4E78-A35A-CC3AFDB851F9}" dt="2024-11-20T17:41:08.341" v="5434"/>
          <ac:spMkLst>
            <pc:docMk/>
            <pc:sldMk cId="3888688317" sldId="265"/>
            <ac:spMk id="173" creationId="{9BE938AB-DF59-734E-2959-B680595D828B}"/>
          </ac:spMkLst>
        </pc:spChg>
        <pc:spChg chg="mod ord topLvl">
          <ac:chgData name="Rashi bhardwaj" userId="a8ce0118b50dbc10" providerId="LiveId" clId="{E5E46110-B667-4E78-A35A-CC3AFDB851F9}" dt="2024-11-20T17:41:08.340" v="5432"/>
          <ac:spMkLst>
            <pc:docMk/>
            <pc:sldMk cId="3888688317" sldId="265"/>
            <ac:spMk id="174" creationId="{76774C08-306D-9AF9-BCE4-767B1A1F0702}"/>
          </ac:spMkLst>
        </pc:spChg>
        <pc:spChg chg="mod ord topLvl">
          <ac:chgData name="Rashi bhardwaj" userId="a8ce0118b50dbc10" providerId="LiveId" clId="{E5E46110-B667-4E78-A35A-CC3AFDB851F9}" dt="2024-11-20T17:41:08.332" v="5430"/>
          <ac:spMkLst>
            <pc:docMk/>
            <pc:sldMk cId="3888688317" sldId="265"/>
            <ac:spMk id="175" creationId="{1C834C03-4A1D-6F08-C775-F0CEBA8C4A85}"/>
          </ac:spMkLst>
        </pc:spChg>
        <pc:spChg chg="mod ord topLvl">
          <ac:chgData name="Rashi bhardwaj" userId="a8ce0118b50dbc10" providerId="LiveId" clId="{E5E46110-B667-4E78-A35A-CC3AFDB851F9}" dt="2024-11-20T17:41:08.332" v="5428"/>
          <ac:spMkLst>
            <pc:docMk/>
            <pc:sldMk cId="3888688317" sldId="265"/>
            <ac:spMk id="176" creationId="{B68B220E-D5B5-52A2-307C-AA61C4A3F71B}"/>
          </ac:spMkLst>
        </pc:spChg>
        <pc:spChg chg="mod ord topLvl">
          <ac:chgData name="Rashi bhardwaj" userId="a8ce0118b50dbc10" providerId="LiveId" clId="{E5E46110-B667-4E78-A35A-CC3AFDB851F9}" dt="2024-11-20T17:41:08.332" v="5426"/>
          <ac:spMkLst>
            <pc:docMk/>
            <pc:sldMk cId="3888688317" sldId="265"/>
            <ac:spMk id="177" creationId="{9AEBE051-A609-92B5-3F47-7AE7AA47A499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78" creationId="{F2C83AF1-9C68-4D4E-8572-2FC8D493FEF5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80" creationId="{EBE6D2E4-B385-4050-AB56-5BD8AE100B8A}"/>
          </ac:spMkLst>
        </pc:spChg>
        <pc:spChg chg="mod ord topLvl">
          <ac:chgData name="Rashi bhardwaj" userId="a8ce0118b50dbc10" providerId="LiveId" clId="{E5E46110-B667-4E78-A35A-CC3AFDB851F9}" dt="2024-11-20T17:41:08.332" v="5424"/>
          <ac:spMkLst>
            <pc:docMk/>
            <pc:sldMk cId="3888688317" sldId="265"/>
            <ac:spMk id="181" creationId="{4253BA42-CE04-F6BB-63A5-54D40415CFAB}"/>
          </ac:spMkLst>
        </pc:spChg>
        <pc:spChg chg="mod ord topLvl">
          <ac:chgData name="Rashi bhardwaj" userId="a8ce0118b50dbc10" providerId="LiveId" clId="{E5E46110-B667-4E78-A35A-CC3AFDB851F9}" dt="2024-11-20T17:41:08.332" v="5422"/>
          <ac:spMkLst>
            <pc:docMk/>
            <pc:sldMk cId="3888688317" sldId="265"/>
            <ac:spMk id="182" creationId="{9F981409-1A48-CFE2-BFA3-F5411F3B7FA6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83" creationId="{1F6EC8D5-78B4-4B5E-BC80-4B2B86D77856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84" creationId="{2EF125BE-E393-4E48-82E7-141BB4D79DA0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85" creationId="{5A486DF0-667F-423C-86F5-4FB16BF058BE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86" creationId="{7B208F75-5109-411D-9BE0-EBFF49221D9A}"/>
          </ac:spMkLst>
        </pc:spChg>
        <pc:spChg chg="mod ord topLvl">
          <ac:chgData name="Rashi bhardwaj" userId="a8ce0118b50dbc10" providerId="LiveId" clId="{E5E46110-B667-4E78-A35A-CC3AFDB851F9}" dt="2024-11-20T17:41:08.332" v="5420"/>
          <ac:spMkLst>
            <pc:docMk/>
            <pc:sldMk cId="3888688317" sldId="265"/>
            <ac:spMk id="187" creationId="{99B4350D-AB11-43A9-E38E-C5BB656F7CFB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88" creationId="{39360D74-BE0E-435B-9A33-B4FF7143C6B1}"/>
          </ac:spMkLst>
        </pc:spChg>
        <pc:spChg chg="mod ord topLvl">
          <ac:chgData name="Rashi bhardwaj" userId="a8ce0118b50dbc10" providerId="LiveId" clId="{E5E46110-B667-4E78-A35A-CC3AFDB851F9}" dt="2024-11-20T17:41:08.332" v="5418"/>
          <ac:spMkLst>
            <pc:docMk/>
            <pc:sldMk cId="3888688317" sldId="265"/>
            <ac:spMk id="195" creationId="{20007E88-4B2E-33CC-8193-BE4E93E67E8C}"/>
          </ac:spMkLst>
        </pc:spChg>
        <pc:spChg chg="mod ord topLvl">
          <ac:chgData name="Rashi bhardwaj" userId="a8ce0118b50dbc10" providerId="LiveId" clId="{E5E46110-B667-4E78-A35A-CC3AFDB851F9}" dt="2024-11-20T17:41:08.332" v="5416"/>
          <ac:spMkLst>
            <pc:docMk/>
            <pc:sldMk cId="3888688317" sldId="265"/>
            <ac:spMk id="196" creationId="{B8391C19-739A-718E-2342-D49325BF04A8}"/>
          </ac:spMkLst>
        </pc:spChg>
        <pc:spChg chg="mod ord topLvl">
          <ac:chgData name="Rashi bhardwaj" userId="a8ce0118b50dbc10" providerId="LiveId" clId="{E5E46110-B667-4E78-A35A-CC3AFDB851F9}" dt="2024-11-20T17:41:08.332" v="5414"/>
          <ac:spMkLst>
            <pc:docMk/>
            <pc:sldMk cId="3888688317" sldId="265"/>
            <ac:spMk id="197" creationId="{1ECB375A-69B9-026F-00FF-5DEA72DAE2FE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199" creationId="{99398F78-92C7-4B1F-8E79-2EA36C692AA6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201" creationId="{CE912CC2-6568-412A-A84E-93F552980EFF}"/>
          </ac:spMkLst>
        </pc:spChg>
        <pc:spChg chg="del">
          <ac:chgData name="Rashi bhardwaj" userId="a8ce0118b50dbc10" providerId="LiveId" clId="{E5E46110-B667-4E78-A35A-CC3AFDB851F9}" dt="2024-11-20T17:41:27.647" v="5668" actId="478"/>
          <ac:spMkLst>
            <pc:docMk/>
            <pc:sldMk cId="3888688317" sldId="265"/>
            <ac:spMk id="202" creationId="{A238A284-A036-41B2-A865-53ECEC00229E}"/>
          </ac:spMkLst>
        </pc:spChg>
        <pc:grpChg chg="add del mod">
          <ac:chgData name="Rashi bhardwaj" userId="a8ce0118b50dbc10" providerId="LiveId" clId="{E5E46110-B667-4E78-A35A-CC3AFDB851F9}" dt="2024-11-20T17:41:15.384" v="5667"/>
          <ac:grpSpMkLst>
            <pc:docMk/>
            <pc:sldMk cId="3888688317" sldId="265"/>
            <ac:grpSpMk id="24" creationId="{0FC4EB91-3785-11CE-D886-564CB71A7239}"/>
          </ac:grpSpMkLst>
        </pc:grpChg>
        <pc:grpChg chg="del">
          <ac:chgData name="Rashi bhardwaj" userId="a8ce0118b50dbc10" providerId="LiveId" clId="{E5E46110-B667-4E78-A35A-CC3AFDB851F9}" dt="2024-11-20T17:41:33.655" v="5669" actId="478"/>
          <ac:grpSpMkLst>
            <pc:docMk/>
            <pc:sldMk cId="3888688317" sldId="265"/>
            <ac:grpSpMk id="163" creationId="{F94EF1AA-3035-4ED9-BDDA-AB3DB6A2F565}"/>
          </ac:grpSpMkLst>
        </pc:grpChg>
        <pc:grpChg chg="del">
          <ac:chgData name="Rashi bhardwaj" userId="a8ce0118b50dbc10" providerId="LiveId" clId="{E5E46110-B667-4E78-A35A-CC3AFDB851F9}" dt="2024-11-20T17:41:27.647" v="5668" actId="478"/>
          <ac:grpSpMkLst>
            <pc:docMk/>
            <pc:sldMk cId="3888688317" sldId="265"/>
            <ac:grpSpMk id="179" creationId="{22CEFFE9-D6D0-4B8C-83EE-CD1E68C630C2}"/>
          </ac:grpSpMkLst>
        </pc:grpChg>
        <pc:grpChg chg="del">
          <ac:chgData name="Rashi bhardwaj" userId="a8ce0118b50dbc10" providerId="LiveId" clId="{E5E46110-B667-4E78-A35A-CC3AFDB851F9}" dt="2024-11-20T17:41:27.647" v="5668" actId="478"/>
          <ac:grpSpMkLst>
            <pc:docMk/>
            <pc:sldMk cId="3888688317" sldId="265"/>
            <ac:grpSpMk id="189" creationId="{F9479B43-DE6A-47A8-86EA-777BAA630D08}"/>
          </ac:grpSpMkLst>
        </pc:grpChg>
        <pc:grpChg chg="del">
          <ac:chgData name="Rashi bhardwaj" userId="a8ce0118b50dbc10" providerId="LiveId" clId="{E5E46110-B667-4E78-A35A-CC3AFDB851F9}" dt="2024-11-20T17:41:27.647" v="5668" actId="478"/>
          <ac:grpSpMkLst>
            <pc:docMk/>
            <pc:sldMk cId="3888688317" sldId="265"/>
            <ac:grpSpMk id="192" creationId="{A6CAD295-45B2-41F9-9F26-97F9E9C9CA14}"/>
          </ac:grpSpMkLst>
        </pc:grpChg>
        <pc:grpChg chg="del mod">
          <ac:chgData name="Rashi bhardwaj" userId="a8ce0118b50dbc10" providerId="LiveId" clId="{E5E46110-B667-4E78-A35A-CC3AFDB851F9}" dt="2024-11-20T17:41:08.290" v="5404"/>
          <ac:grpSpMkLst>
            <pc:docMk/>
            <pc:sldMk cId="3888688317" sldId="265"/>
            <ac:grpSpMk id="229" creationId="{43056AF5-08D3-E172-810B-F16F6C4CFB99}"/>
          </ac:grpSpMkLst>
        </pc:grpChg>
        <pc:grpChg chg="del">
          <ac:chgData name="Rashi bhardwaj" userId="a8ce0118b50dbc10" providerId="LiveId" clId="{E5E46110-B667-4E78-A35A-CC3AFDB851F9}" dt="2024-11-20T17:41:27.647" v="5668" actId="478"/>
          <ac:grpSpMkLst>
            <pc:docMk/>
            <pc:sldMk cId="3888688317" sldId="265"/>
            <ac:grpSpMk id="1031" creationId="{F4E53705-89AF-4F6F-86D4-75393C7184D9}"/>
          </ac:grpSpMkLst>
        </pc:grpChg>
        <pc:picChg chg="del">
          <ac:chgData name="Rashi bhardwaj" userId="a8ce0118b50dbc10" providerId="LiveId" clId="{E5E46110-B667-4E78-A35A-CC3AFDB851F9}" dt="2024-11-20T17:41:27.647" v="5668" actId="478"/>
          <ac:picMkLst>
            <pc:docMk/>
            <pc:sldMk cId="3888688317" sldId="265"/>
            <ac:picMk id="1028" creationId="{F930C38E-35FF-453F-9AFD-F99E94367BE6}"/>
          </ac:picMkLst>
        </pc:picChg>
        <pc:picChg chg="del">
          <ac:chgData name="Rashi bhardwaj" userId="a8ce0118b50dbc10" providerId="LiveId" clId="{E5E46110-B667-4E78-A35A-CC3AFDB851F9}" dt="2024-11-20T17:41:27.647" v="5668" actId="478"/>
          <ac:picMkLst>
            <pc:docMk/>
            <pc:sldMk cId="3888688317" sldId="265"/>
            <ac:picMk id="1032" creationId="{E42EC7F8-C37E-4463-B2D9-8D1E2E88618C}"/>
          </ac:picMkLst>
        </pc:picChg>
        <pc:picChg chg="del">
          <ac:chgData name="Rashi bhardwaj" userId="a8ce0118b50dbc10" providerId="LiveId" clId="{E5E46110-B667-4E78-A35A-CC3AFDB851F9}" dt="2024-11-20T17:41:27.647" v="5668" actId="478"/>
          <ac:picMkLst>
            <pc:docMk/>
            <pc:sldMk cId="3888688317" sldId="265"/>
            <ac:picMk id="1040" creationId="{50A3E48A-2943-4199-B080-FBC0034B5770}"/>
          </ac:picMkLst>
        </pc:picChg>
        <pc:cxnChg chg="add del mod modVis">
          <ac:chgData name="Rashi bhardwaj" userId="a8ce0118b50dbc10" providerId="LiveId" clId="{E5E46110-B667-4E78-A35A-CC3AFDB851F9}" dt="2024-11-20T17:41:08.480" v="5663"/>
          <ac:cxnSpMkLst>
            <pc:docMk/>
            <pc:sldMk cId="3888688317" sldId="265"/>
            <ac:cxnSpMk id="5" creationId="{C223F910-85A8-9BF1-748B-1E8959ABE279}"/>
          </ac:cxnSpMkLst>
        </pc:cxnChg>
        <pc:cxnChg chg="add mod ord">
          <ac:chgData name="Rashi bhardwaj" userId="a8ce0118b50dbc10" providerId="LiveId" clId="{E5E46110-B667-4E78-A35A-CC3AFDB851F9}" dt="2024-11-20T17:41:08.423" v="5622"/>
          <ac:cxnSpMkLst>
            <pc:docMk/>
            <pc:sldMk cId="3888688317" sldId="265"/>
            <ac:cxnSpMk id="8" creationId="{D3B439D1-89EB-0287-8891-D26680502968}"/>
          </ac:cxnSpMkLst>
        </pc:cxnChg>
        <pc:cxnChg chg="add mod ord">
          <ac:chgData name="Rashi bhardwaj" userId="a8ce0118b50dbc10" providerId="LiveId" clId="{E5E46110-B667-4E78-A35A-CC3AFDB851F9}" dt="2024-11-20T17:41:08.326" v="5412"/>
          <ac:cxnSpMkLst>
            <pc:docMk/>
            <pc:sldMk cId="3888688317" sldId="265"/>
            <ac:cxnSpMk id="9" creationId="{72A4D2CD-D010-1B7C-734F-CC073F2905A4}"/>
          </ac:cxnSpMkLst>
        </pc:cxnChg>
        <pc:cxnChg chg="add mod ord">
          <ac:chgData name="Rashi bhardwaj" userId="a8ce0118b50dbc10" providerId="LiveId" clId="{E5E46110-B667-4E78-A35A-CC3AFDB851F9}" dt="2024-11-20T17:41:08.326" v="5410"/>
          <ac:cxnSpMkLst>
            <pc:docMk/>
            <pc:sldMk cId="3888688317" sldId="265"/>
            <ac:cxnSpMk id="10" creationId="{A506E6A3-1E23-A6BA-7005-1093CDAA51EE}"/>
          </ac:cxnSpMkLst>
        </pc:cxnChg>
        <pc:cxnChg chg="add mod ord">
          <ac:chgData name="Rashi bhardwaj" userId="a8ce0118b50dbc10" providerId="LiveId" clId="{E5E46110-B667-4E78-A35A-CC3AFDB851F9}" dt="2024-11-20T17:41:08.423" v="5620"/>
          <ac:cxnSpMkLst>
            <pc:docMk/>
            <pc:sldMk cId="3888688317" sldId="265"/>
            <ac:cxnSpMk id="11" creationId="{A4C0E194-0715-DF33-0816-AA023FA46925}"/>
          </ac:cxnSpMkLst>
        </pc:cxnChg>
        <pc:cxnChg chg="add mod ord">
          <ac:chgData name="Rashi bhardwaj" userId="a8ce0118b50dbc10" providerId="LiveId" clId="{E5E46110-B667-4E78-A35A-CC3AFDB851F9}" dt="2024-11-20T17:41:08.430" v="5626"/>
          <ac:cxnSpMkLst>
            <pc:docMk/>
            <pc:sldMk cId="3888688317" sldId="265"/>
            <ac:cxnSpMk id="12" creationId="{D11DADFE-45B2-074D-BD37-24FADBBD8A1A}"/>
          </ac:cxnSpMkLst>
        </pc:cxnChg>
        <pc:cxnChg chg="del">
          <ac:chgData name="Rashi bhardwaj" userId="a8ce0118b50dbc10" providerId="LiveId" clId="{E5E46110-B667-4E78-A35A-CC3AFDB851F9}" dt="2024-11-20T17:41:27.647" v="5668" actId="478"/>
          <ac:cxnSpMkLst>
            <pc:docMk/>
            <pc:sldMk cId="3888688317" sldId="265"/>
            <ac:cxnSpMk id="13" creationId="{8F3D1480-064D-D9C0-9828-E46468FAB17D}"/>
          </ac:cxnSpMkLst>
        </pc:cxnChg>
        <pc:cxnChg chg="del">
          <ac:chgData name="Rashi bhardwaj" userId="a8ce0118b50dbc10" providerId="LiveId" clId="{E5E46110-B667-4E78-A35A-CC3AFDB851F9}" dt="2024-11-20T17:41:27.647" v="5668" actId="478"/>
          <ac:cxnSpMkLst>
            <pc:docMk/>
            <pc:sldMk cId="3888688317" sldId="265"/>
            <ac:cxnSpMk id="14" creationId="{8E5C92E0-4CB5-2EB2-180A-46055D8D4B34}"/>
          </ac:cxnSpMkLst>
        </pc:cxnChg>
        <pc:cxnChg chg="del">
          <ac:chgData name="Rashi bhardwaj" userId="a8ce0118b50dbc10" providerId="LiveId" clId="{E5E46110-B667-4E78-A35A-CC3AFDB851F9}" dt="2024-11-20T17:41:27.647" v="5668" actId="478"/>
          <ac:cxnSpMkLst>
            <pc:docMk/>
            <pc:sldMk cId="3888688317" sldId="265"/>
            <ac:cxnSpMk id="15" creationId="{A935CDEE-3233-86DF-219D-AFACE32A5B68}"/>
          </ac:cxnSpMkLst>
        </pc:cxnChg>
        <pc:cxnChg chg="del">
          <ac:chgData name="Rashi bhardwaj" userId="a8ce0118b50dbc10" providerId="LiveId" clId="{E5E46110-B667-4E78-A35A-CC3AFDB851F9}" dt="2024-11-20T17:41:27.647" v="5668" actId="478"/>
          <ac:cxnSpMkLst>
            <pc:docMk/>
            <pc:sldMk cId="3888688317" sldId="265"/>
            <ac:cxnSpMk id="16" creationId="{BA630AA4-BCAE-5F62-BD2D-34F9ED6627B9}"/>
          </ac:cxnSpMkLst>
        </pc:cxnChg>
        <pc:cxnChg chg="add mod ord">
          <ac:chgData name="Rashi bhardwaj" userId="a8ce0118b50dbc10" providerId="LiveId" clId="{E5E46110-B667-4E78-A35A-CC3AFDB851F9}" dt="2024-11-20T17:41:08.423" v="5624"/>
          <ac:cxnSpMkLst>
            <pc:docMk/>
            <pc:sldMk cId="3888688317" sldId="265"/>
            <ac:cxnSpMk id="21" creationId="{7475E444-519B-797B-6408-5CD76216AFFE}"/>
          </ac:cxnSpMkLst>
        </pc:cxnChg>
        <pc:cxnChg chg="add mod ord">
          <ac:chgData name="Rashi bhardwaj" userId="a8ce0118b50dbc10" providerId="LiveId" clId="{E5E46110-B667-4E78-A35A-CC3AFDB851F9}" dt="2024-11-20T17:41:08.459" v="5660"/>
          <ac:cxnSpMkLst>
            <pc:docMk/>
            <pc:sldMk cId="3888688317" sldId="265"/>
            <ac:cxnSpMk id="22" creationId="{83839419-B4D3-43FE-8884-4025BF16DE81}"/>
          </ac:cxnSpMkLst>
        </pc:cxnChg>
        <pc:cxnChg chg="add mod ord">
          <ac:chgData name="Rashi bhardwaj" userId="a8ce0118b50dbc10" providerId="LiveId" clId="{E5E46110-B667-4E78-A35A-CC3AFDB851F9}" dt="2024-11-20T17:41:08.459" v="5658"/>
          <ac:cxnSpMkLst>
            <pc:docMk/>
            <pc:sldMk cId="3888688317" sldId="265"/>
            <ac:cxnSpMk id="23" creationId="{B0D40E21-BC5B-9A22-A608-0A996CCF4821}"/>
          </ac:cxnSpMkLst>
        </pc:cxnChg>
        <pc:cxnChg chg="mod ord topLvl">
          <ac:chgData name="Rashi bhardwaj" userId="a8ce0118b50dbc10" providerId="LiveId" clId="{E5E46110-B667-4E78-A35A-CC3AFDB851F9}" dt="2024-11-20T17:41:08.415" v="5618"/>
          <ac:cxnSpMkLst>
            <pc:docMk/>
            <pc:sldMk cId="3888688317" sldId="265"/>
            <ac:cxnSpMk id="77" creationId="{2819F27A-86E7-FE7A-65DA-3FE827C6324D}"/>
          </ac:cxnSpMkLst>
        </pc:cxnChg>
        <pc:cxnChg chg="mod ord topLvl">
          <ac:chgData name="Rashi bhardwaj" userId="a8ce0118b50dbc10" providerId="LiveId" clId="{E5E46110-B667-4E78-A35A-CC3AFDB851F9}" dt="2024-11-20T17:41:08.415" v="5616"/>
          <ac:cxnSpMkLst>
            <pc:docMk/>
            <pc:sldMk cId="3888688317" sldId="265"/>
            <ac:cxnSpMk id="78" creationId="{CB5CE696-8C1F-FDFB-FA82-80FDF0EBBB4B}"/>
          </ac:cxnSpMkLst>
        </pc:cxnChg>
        <pc:cxnChg chg="mod ord topLvl">
          <ac:chgData name="Rashi bhardwaj" userId="a8ce0118b50dbc10" providerId="LiveId" clId="{E5E46110-B667-4E78-A35A-CC3AFDB851F9}" dt="2024-11-20T17:41:08.415" v="5614"/>
          <ac:cxnSpMkLst>
            <pc:docMk/>
            <pc:sldMk cId="3888688317" sldId="265"/>
            <ac:cxnSpMk id="79" creationId="{1C7A56FF-E0B0-6BFD-87EC-F6B46B7317A6}"/>
          </ac:cxnSpMkLst>
        </pc:cxnChg>
        <pc:cxnChg chg="mod ord topLvl">
          <ac:chgData name="Rashi bhardwaj" userId="a8ce0118b50dbc10" providerId="LiveId" clId="{E5E46110-B667-4E78-A35A-CC3AFDB851F9}" dt="2024-11-20T17:41:08.415" v="5612"/>
          <ac:cxnSpMkLst>
            <pc:docMk/>
            <pc:sldMk cId="3888688317" sldId="265"/>
            <ac:cxnSpMk id="80" creationId="{A1947015-571B-3FDA-67E1-D8AD3C41CBEC}"/>
          </ac:cxnSpMkLst>
        </pc:cxnChg>
        <pc:cxnChg chg="mod ord topLvl">
          <ac:chgData name="Rashi bhardwaj" userId="a8ce0118b50dbc10" providerId="LiveId" clId="{E5E46110-B667-4E78-A35A-CC3AFDB851F9}" dt="2024-11-20T17:41:08.415" v="5610"/>
          <ac:cxnSpMkLst>
            <pc:docMk/>
            <pc:sldMk cId="3888688317" sldId="265"/>
            <ac:cxnSpMk id="83" creationId="{13AE9C2C-D9D3-1747-AD5B-3B33C2F5951E}"/>
          </ac:cxnSpMkLst>
        </pc:cxnChg>
        <pc:cxnChg chg="mod ord topLvl">
          <ac:chgData name="Rashi bhardwaj" userId="a8ce0118b50dbc10" providerId="LiveId" clId="{E5E46110-B667-4E78-A35A-CC3AFDB851F9}" dt="2024-11-20T17:41:08.413" v="5608"/>
          <ac:cxnSpMkLst>
            <pc:docMk/>
            <pc:sldMk cId="3888688317" sldId="265"/>
            <ac:cxnSpMk id="86" creationId="{39663081-E929-E0EA-8259-F84CE74E33E2}"/>
          </ac:cxnSpMkLst>
        </pc:cxnChg>
        <pc:cxnChg chg="mod ord topLvl">
          <ac:chgData name="Rashi bhardwaj" userId="a8ce0118b50dbc10" providerId="LiveId" clId="{E5E46110-B667-4E78-A35A-CC3AFDB851F9}" dt="2024-11-20T17:41:08.413" v="5606"/>
          <ac:cxnSpMkLst>
            <pc:docMk/>
            <pc:sldMk cId="3888688317" sldId="265"/>
            <ac:cxnSpMk id="87" creationId="{E2258945-A948-F085-52F6-BC09DBFA2D8B}"/>
          </ac:cxnSpMkLst>
        </pc:cxnChg>
        <pc:cxnChg chg="mod ord topLvl">
          <ac:chgData name="Rashi bhardwaj" userId="a8ce0118b50dbc10" providerId="LiveId" clId="{E5E46110-B667-4E78-A35A-CC3AFDB851F9}" dt="2024-11-20T17:41:08.406" v="5604"/>
          <ac:cxnSpMkLst>
            <pc:docMk/>
            <pc:sldMk cId="3888688317" sldId="265"/>
            <ac:cxnSpMk id="88" creationId="{7D720B63-BD0E-FF25-9A22-5CF6283113FD}"/>
          </ac:cxnSpMkLst>
        </pc:cxnChg>
        <pc:cxnChg chg="mod ord topLvl">
          <ac:chgData name="Rashi bhardwaj" userId="a8ce0118b50dbc10" providerId="LiveId" clId="{E5E46110-B667-4E78-A35A-CC3AFDB851F9}" dt="2024-11-20T17:41:08.406" v="5602"/>
          <ac:cxnSpMkLst>
            <pc:docMk/>
            <pc:sldMk cId="3888688317" sldId="265"/>
            <ac:cxnSpMk id="89" creationId="{13DF090A-757E-6F80-125E-B7BD5DB2F046}"/>
          </ac:cxnSpMkLst>
        </pc:cxnChg>
        <pc:cxnChg chg="mod ord topLvl">
          <ac:chgData name="Rashi bhardwaj" userId="a8ce0118b50dbc10" providerId="LiveId" clId="{E5E46110-B667-4E78-A35A-CC3AFDB851F9}" dt="2024-11-20T17:41:08.406" v="5600"/>
          <ac:cxnSpMkLst>
            <pc:docMk/>
            <pc:sldMk cId="3888688317" sldId="265"/>
            <ac:cxnSpMk id="90" creationId="{46D79B16-8602-1DC7-C57B-5D09ECAF145D}"/>
          </ac:cxnSpMkLst>
        </pc:cxnChg>
        <pc:cxnChg chg="mod ord topLvl">
          <ac:chgData name="Rashi bhardwaj" userId="a8ce0118b50dbc10" providerId="LiveId" clId="{E5E46110-B667-4E78-A35A-CC3AFDB851F9}" dt="2024-11-20T17:41:08.406" v="5598"/>
          <ac:cxnSpMkLst>
            <pc:docMk/>
            <pc:sldMk cId="3888688317" sldId="265"/>
            <ac:cxnSpMk id="92" creationId="{74D0ACA5-72E1-A4AB-60D1-78118BE83101}"/>
          </ac:cxnSpMkLst>
        </pc:cxnChg>
        <pc:cxnChg chg="mod ord topLvl">
          <ac:chgData name="Rashi bhardwaj" userId="a8ce0118b50dbc10" providerId="LiveId" clId="{E5E46110-B667-4E78-A35A-CC3AFDB851F9}" dt="2024-11-20T17:41:08.406" v="5596"/>
          <ac:cxnSpMkLst>
            <pc:docMk/>
            <pc:sldMk cId="3888688317" sldId="265"/>
            <ac:cxnSpMk id="94" creationId="{6C287BAF-15E1-EC96-826E-58034CE57212}"/>
          </ac:cxnSpMkLst>
        </pc:cxnChg>
        <pc:cxnChg chg="mod ord topLvl">
          <ac:chgData name="Rashi bhardwaj" userId="a8ce0118b50dbc10" providerId="LiveId" clId="{E5E46110-B667-4E78-A35A-CC3AFDB851F9}" dt="2024-11-20T17:41:08.406" v="5594"/>
          <ac:cxnSpMkLst>
            <pc:docMk/>
            <pc:sldMk cId="3888688317" sldId="265"/>
            <ac:cxnSpMk id="96" creationId="{8D2849EB-B0EC-F895-9BAC-D01212E33341}"/>
          </ac:cxnSpMkLst>
        </pc:cxnChg>
        <pc:cxnChg chg="mod ord topLvl">
          <ac:chgData name="Rashi bhardwaj" userId="a8ce0118b50dbc10" providerId="LiveId" clId="{E5E46110-B667-4E78-A35A-CC3AFDB851F9}" dt="2024-11-20T17:41:08.406" v="5592"/>
          <ac:cxnSpMkLst>
            <pc:docMk/>
            <pc:sldMk cId="3888688317" sldId="265"/>
            <ac:cxnSpMk id="97" creationId="{5CD37C8B-3ACB-D6E7-D2B8-AB3E937FAA26}"/>
          </ac:cxnSpMkLst>
        </pc:cxnChg>
        <pc:cxnChg chg="mod ord topLvl">
          <ac:chgData name="Rashi bhardwaj" userId="a8ce0118b50dbc10" providerId="LiveId" clId="{E5E46110-B667-4E78-A35A-CC3AFDB851F9}" dt="2024-11-20T17:41:08.405" v="5590"/>
          <ac:cxnSpMkLst>
            <pc:docMk/>
            <pc:sldMk cId="3888688317" sldId="265"/>
            <ac:cxnSpMk id="98" creationId="{2AE428FD-9687-7AD7-1434-CB5AAD4318DB}"/>
          </ac:cxnSpMkLst>
        </pc:cxnChg>
        <pc:cxnChg chg="mod ord topLvl">
          <ac:chgData name="Rashi bhardwaj" userId="a8ce0118b50dbc10" providerId="LiveId" clId="{E5E46110-B667-4E78-A35A-CC3AFDB851F9}" dt="2024-11-20T17:41:08.397" v="5588"/>
          <ac:cxnSpMkLst>
            <pc:docMk/>
            <pc:sldMk cId="3888688317" sldId="265"/>
            <ac:cxnSpMk id="99" creationId="{FBFF07C5-BA11-E08F-D065-6B137EF4ED7A}"/>
          </ac:cxnSpMkLst>
        </pc:cxnChg>
        <pc:cxnChg chg="mod ord topLvl">
          <ac:chgData name="Rashi bhardwaj" userId="a8ce0118b50dbc10" providerId="LiveId" clId="{E5E46110-B667-4E78-A35A-CC3AFDB851F9}" dt="2024-11-20T17:41:08.397" v="5586"/>
          <ac:cxnSpMkLst>
            <pc:docMk/>
            <pc:sldMk cId="3888688317" sldId="265"/>
            <ac:cxnSpMk id="101" creationId="{47AF9C72-B64D-B5FE-7DBF-C2249C8E4858}"/>
          </ac:cxnSpMkLst>
        </pc:cxnChg>
        <pc:cxnChg chg="mod ord topLvl">
          <ac:chgData name="Rashi bhardwaj" userId="a8ce0118b50dbc10" providerId="LiveId" clId="{E5E46110-B667-4E78-A35A-CC3AFDB851F9}" dt="2024-11-20T17:41:08.397" v="5584"/>
          <ac:cxnSpMkLst>
            <pc:docMk/>
            <pc:sldMk cId="3888688317" sldId="265"/>
            <ac:cxnSpMk id="104" creationId="{EF6328BF-3410-307F-DE7C-C3BF0BC5979A}"/>
          </ac:cxnSpMkLst>
        </pc:cxnChg>
        <pc:cxnChg chg="mod ord topLvl">
          <ac:chgData name="Rashi bhardwaj" userId="a8ce0118b50dbc10" providerId="LiveId" clId="{E5E46110-B667-4E78-A35A-CC3AFDB851F9}" dt="2024-11-20T17:41:08.397" v="5582"/>
          <ac:cxnSpMkLst>
            <pc:docMk/>
            <pc:sldMk cId="3888688317" sldId="265"/>
            <ac:cxnSpMk id="109" creationId="{B75621DB-4099-631A-361E-5B26FA300A5E}"/>
          </ac:cxnSpMkLst>
        </pc:cxnChg>
        <pc:cxnChg chg="mod ord topLvl">
          <ac:chgData name="Rashi bhardwaj" userId="a8ce0118b50dbc10" providerId="LiveId" clId="{E5E46110-B667-4E78-A35A-CC3AFDB851F9}" dt="2024-11-20T17:41:08.397" v="5580"/>
          <ac:cxnSpMkLst>
            <pc:docMk/>
            <pc:sldMk cId="3888688317" sldId="265"/>
            <ac:cxnSpMk id="112" creationId="{A1D7DBC9-3559-1CB5-3866-5CD60E87B2E9}"/>
          </ac:cxnSpMkLst>
        </pc:cxnChg>
        <pc:cxnChg chg="mod ord topLvl">
          <ac:chgData name="Rashi bhardwaj" userId="a8ce0118b50dbc10" providerId="LiveId" clId="{E5E46110-B667-4E78-A35A-CC3AFDB851F9}" dt="2024-11-20T17:41:08.397" v="5578"/>
          <ac:cxnSpMkLst>
            <pc:docMk/>
            <pc:sldMk cId="3888688317" sldId="265"/>
            <ac:cxnSpMk id="113" creationId="{7DB3C847-F429-81D2-B87D-C87C73A4EF23}"/>
          </ac:cxnSpMkLst>
        </pc:cxnChg>
        <pc:cxnChg chg="mod ord topLvl">
          <ac:chgData name="Rashi bhardwaj" userId="a8ce0118b50dbc10" providerId="LiveId" clId="{E5E46110-B667-4E78-A35A-CC3AFDB851F9}" dt="2024-11-20T17:41:08.397" v="5576"/>
          <ac:cxnSpMkLst>
            <pc:docMk/>
            <pc:sldMk cId="3888688317" sldId="265"/>
            <ac:cxnSpMk id="115" creationId="{7F002B7A-5E41-77B2-64D0-ED4F87EBE374}"/>
          </ac:cxnSpMkLst>
        </pc:cxnChg>
        <pc:cxnChg chg="mod ord topLvl">
          <ac:chgData name="Rashi bhardwaj" userId="a8ce0118b50dbc10" providerId="LiveId" clId="{E5E46110-B667-4E78-A35A-CC3AFDB851F9}" dt="2024-11-20T17:41:08.397" v="5574"/>
          <ac:cxnSpMkLst>
            <pc:docMk/>
            <pc:sldMk cId="3888688317" sldId="265"/>
            <ac:cxnSpMk id="117" creationId="{C104C6ED-B18C-26B5-AAC5-C78BC10D22CA}"/>
          </ac:cxnSpMkLst>
        </pc:cxnChg>
        <pc:cxnChg chg="mod ord topLvl">
          <ac:chgData name="Rashi bhardwaj" userId="a8ce0118b50dbc10" providerId="LiveId" clId="{E5E46110-B667-4E78-A35A-CC3AFDB851F9}" dt="2024-11-20T17:41:08.397" v="5572"/>
          <ac:cxnSpMkLst>
            <pc:docMk/>
            <pc:sldMk cId="3888688317" sldId="265"/>
            <ac:cxnSpMk id="118" creationId="{AF9FD06E-C88D-B2D7-9CD3-E502DEE95D60}"/>
          </ac:cxnSpMkLst>
        </pc:cxnChg>
        <pc:cxnChg chg="mod ord topLvl">
          <ac:chgData name="Rashi bhardwaj" userId="a8ce0118b50dbc10" providerId="LiveId" clId="{E5E46110-B667-4E78-A35A-CC3AFDB851F9}" dt="2024-11-20T17:41:08.397" v="5570"/>
          <ac:cxnSpMkLst>
            <pc:docMk/>
            <pc:sldMk cId="3888688317" sldId="265"/>
            <ac:cxnSpMk id="119" creationId="{D9C169F9-ED6A-A177-749A-282DEEF13B37}"/>
          </ac:cxnSpMkLst>
        </pc:cxnChg>
        <pc:cxnChg chg="mod ord topLvl">
          <ac:chgData name="Rashi bhardwaj" userId="a8ce0118b50dbc10" providerId="LiveId" clId="{E5E46110-B667-4E78-A35A-CC3AFDB851F9}" dt="2024-11-20T17:41:08.389" v="5568"/>
          <ac:cxnSpMkLst>
            <pc:docMk/>
            <pc:sldMk cId="3888688317" sldId="265"/>
            <ac:cxnSpMk id="121" creationId="{03878095-F64B-0B6D-439B-AD4C297F1701}"/>
          </ac:cxnSpMkLst>
        </pc:cxnChg>
        <pc:cxnChg chg="mod ord topLvl">
          <ac:chgData name="Rashi bhardwaj" userId="a8ce0118b50dbc10" providerId="LiveId" clId="{E5E46110-B667-4E78-A35A-CC3AFDB851F9}" dt="2024-11-20T17:41:08.389" v="5566"/>
          <ac:cxnSpMkLst>
            <pc:docMk/>
            <pc:sldMk cId="3888688317" sldId="265"/>
            <ac:cxnSpMk id="123" creationId="{1808E4A0-A0FC-C642-879A-C33B9D61CDBE}"/>
          </ac:cxnSpMkLst>
        </pc:cxnChg>
        <pc:cxnChg chg="mod ord topLvl">
          <ac:chgData name="Rashi bhardwaj" userId="a8ce0118b50dbc10" providerId="LiveId" clId="{E5E46110-B667-4E78-A35A-CC3AFDB851F9}" dt="2024-11-20T17:41:08.389" v="5564"/>
          <ac:cxnSpMkLst>
            <pc:docMk/>
            <pc:sldMk cId="3888688317" sldId="265"/>
            <ac:cxnSpMk id="127" creationId="{0681C76B-8C8C-5474-8CDD-205CD0C01CDE}"/>
          </ac:cxnSpMkLst>
        </pc:cxnChg>
        <pc:cxnChg chg="mod ord topLvl">
          <ac:chgData name="Rashi bhardwaj" userId="a8ce0118b50dbc10" providerId="LiveId" clId="{E5E46110-B667-4E78-A35A-CC3AFDB851F9}" dt="2024-11-20T17:41:08.360" v="5478"/>
          <ac:cxnSpMkLst>
            <pc:docMk/>
            <pc:sldMk cId="3888688317" sldId="265"/>
            <ac:cxnSpMk id="128" creationId="{A5BB6FF5-791F-FB10-B20D-A4CC9D14650C}"/>
          </ac:cxnSpMkLst>
        </pc:cxnChg>
        <pc:cxnChg chg="mod ord topLvl">
          <ac:chgData name="Rashi bhardwaj" userId="a8ce0118b50dbc10" providerId="LiveId" clId="{E5E46110-B667-4E78-A35A-CC3AFDB851F9}" dt="2024-11-20T17:41:08.360" v="5476"/>
          <ac:cxnSpMkLst>
            <pc:docMk/>
            <pc:sldMk cId="3888688317" sldId="265"/>
            <ac:cxnSpMk id="135" creationId="{7A5850CC-7D0B-FB4B-BEAF-5F18581BDBA2}"/>
          </ac:cxnSpMkLst>
        </pc:cxnChg>
        <pc:cxnChg chg="mod ord topLvl">
          <ac:chgData name="Rashi bhardwaj" userId="a8ce0118b50dbc10" providerId="LiveId" clId="{E5E46110-B667-4E78-A35A-CC3AFDB851F9}" dt="2024-11-20T17:41:08.358" v="5474"/>
          <ac:cxnSpMkLst>
            <pc:docMk/>
            <pc:sldMk cId="3888688317" sldId="265"/>
            <ac:cxnSpMk id="137" creationId="{B9501BCC-7452-3B0C-281C-70EF4B286E17}"/>
          </ac:cxnSpMkLst>
        </pc:cxnChg>
        <pc:cxnChg chg="mod ord topLvl">
          <ac:chgData name="Rashi bhardwaj" userId="a8ce0118b50dbc10" providerId="LiveId" clId="{E5E46110-B667-4E78-A35A-CC3AFDB851F9}" dt="2024-11-20T17:41:08.358" v="5472"/>
          <ac:cxnSpMkLst>
            <pc:docMk/>
            <pc:sldMk cId="3888688317" sldId="265"/>
            <ac:cxnSpMk id="139" creationId="{DDC34209-696D-5B46-D674-BC8FF0B2C9ED}"/>
          </ac:cxnSpMkLst>
        </pc:cxnChg>
        <pc:cxnChg chg="mod ord topLvl">
          <ac:chgData name="Rashi bhardwaj" userId="a8ce0118b50dbc10" providerId="LiveId" clId="{E5E46110-B667-4E78-A35A-CC3AFDB851F9}" dt="2024-11-20T17:41:08.357" v="5470"/>
          <ac:cxnSpMkLst>
            <pc:docMk/>
            <pc:sldMk cId="3888688317" sldId="265"/>
            <ac:cxnSpMk id="141" creationId="{7351FFDE-A40A-DA8F-D28D-42952D784675}"/>
          </ac:cxnSpMkLst>
        </pc:cxnChg>
        <pc:cxnChg chg="mod ord topLvl">
          <ac:chgData name="Rashi bhardwaj" userId="a8ce0118b50dbc10" providerId="LiveId" clId="{E5E46110-B667-4E78-A35A-CC3AFDB851F9}" dt="2024-11-20T17:41:08.356" v="5468"/>
          <ac:cxnSpMkLst>
            <pc:docMk/>
            <pc:sldMk cId="3888688317" sldId="265"/>
            <ac:cxnSpMk id="143" creationId="{14AAF54F-1236-3C59-451E-EBC5D44A1FA5}"/>
          </ac:cxnSpMkLst>
        </pc:cxnChg>
        <pc:cxnChg chg="mod ord topLvl">
          <ac:chgData name="Rashi bhardwaj" userId="a8ce0118b50dbc10" providerId="LiveId" clId="{E5E46110-B667-4E78-A35A-CC3AFDB851F9}" dt="2024-11-20T17:41:08.355" v="5466"/>
          <ac:cxnSpMkLst>
            <pc:docMk/>
            <pc:sldMk cId="3888688317" sldId="265"/>
            <ac:cxnSpMk id="144" creationId="{9DF03F11-2699-1CAD-A34E-0DC97BC3734B}"/>
          </ac:cxnSpMkLst>
        </pc:cxnChg>
        <pc:cxnChg chg="mod ord topLvl">
          <ac:chgData name="Rashi bhardwaj" userId="a8ce0118b50dbc10" providerId="LiveId" clId="{E5E46110-B667-4E78-A35A-CC3AFDB851F9}" dt="2024-11-20T17:41:08.355" v="5464"/>
          <ac:cxnSpMkLst>
            <pc:docMk/>
            <pc:sldMk cId="3888688317" sldId="265"/>
            <ac:cxnSpMk id="146" creationId="{07259623-492C-2822-5570-80287F888F78}"/>
          </ac:cxnSpMkLst>
        </pc:cxnChg>
        <pc:cxnChg chg="mod ord topLvl">
          <ac:chgData name="Rashi bhardwaj" userId="a8ce0118b50dbc10" providerId="LiveId" clId="{E5E46110-B667-4E78-A35A-CC3AFDB851F9}" dt="2024-11-20T17:41:08.354" v="5462"/>
          <ac:cxnSpMkLst>
            <pc:docMk/>
            <pc:sldMk cId="3888688317" sldId="265"/>
            <ac:cxnSpMk id="147" creationId="{57333A25-9407-D32A-144D-F1E31A826741}"/>
          </ac:cxnSpMkLst>
        </pc:cxnChg>
        <pc:cxnChg chg="mod ord topLvl">
          <ac:chgData name="Rashi bhardwaj" userId="a8ce0118b50dbc10" providerId="LiveId" clId="{E5E46110-B667-4E78-A35A-CC3AFDB851F9}" dt="2024-11-20T17:41:08.352" v="5460"/>
          <ac:cxnSpMkLst>
            <pc:docMk/>
            <pc:sldMk cId="3888688317" sldId="265"/>
            <ac:cxnSpMk id="148" creationId="{F5482D9C-5A1E-06E7-BE5D-AF75FBED310F}"/>
          </ac:cxnSpMkLst>
        </pc:cxnChg>
        <pc:cxnChg chg="mod ord topLvl">
          <ac:chgData name="Rashi bhardwaj" userId="a8ce0118b50dbc10" providerId="LiveId" clId="{E5E46110-B667-4E78-A35A-CC3AFDB851F9}" dt="2024-11-20T17:41:08.352" v="5458"/>
          <ac:cxnSpMkLst>
            <pc:docMk/>
            <pc:sldMk cId="3888688317" sldId="265"/>
            <ac:cxnSpMk id="150" creationId="{C5101BA9-38C5-B2DF-D124-8FC810C0EE8C}"/>
          </ac:cxnSpMkLst>
        </pc:cxnChg>
        <pc:cxnChg chg="mod ord topLvl">
          <ac:chgData name="Rashi bhardwaj" userId="a8ce0118b50dbc10" providerId="LiveId" clId="{E5E46110-B667-4E78-A35A-CC3AFDB851F9}" dt="2024-11-20T17:41:08.352" v="5456"/>
          <ac:cxnSpMkLst>
            <pc:docMk/>
            <pc:sldMk cId="3888688317" sldId="265"/>
            <ac:cxnSpMk id="152" creationId="{6731E1DC-9E8A-E172-230C-75C21359F3A4}"/>
          </ac:cxnSpMkLst>
        </pc:cxnChg>
        <pc:cxnChg chg="mod ord topLvl">
          <ac:chgData name="Rashi bhardwaj" userId="a8ce0118b50dbc10" providerId="LiveId" clId="{E5E46110-B667-4E78-A35A-CC3AFDB851F9}" dt="2024-11-20T17:41:08.351" v="5454"/>
          <ac:cxnSpMkLst>
            <pc:docMk/>
            <pc:sldMk cId="3888688317" sldId="265"/>
            <ac:cxnSpMk id="154" creationId="{20D355AE-AF55-9118-CAEE-F962A1AD45A8}"/>
          </ac:cxnSpMkLst>
        </pc:cxnChg>
        <pc:cxnChg chg="mod ord topLvl">
          <ac:chgData name="Rashi bhardwaj" userId="a8ce0118b50dbc10" providerId="LiveId" clId="{E5E46110-B667-4E78-A35A-CC3AFDB851F9}" dt="2024-11-20T17:41:08.349" v="5452"/>
          <ac:cxnSpMkLst>
            <pc:docMk/>
            <pc:sldMk cId="3888688317" sldId="265"/>
            <ac:cxnSpMk id="155" creationId="{752E5FF7-2106-8117-DAD0-D0A2A3817D21}"/>
          </ac:cxnSpMkLst>
        </pc:cxnChg>
        <pc:cxnChg chg="mod ord topLvl">
          <ac:chgData name="Rashi bhardwaj" userId="a8ce0118b50dbc10" providerId="LiveId" clId="{E5E46110-B667-4E78-A35A-CC3AFDB851F9}" dt="2024-11-20T17:41:08.349" v="5450"/>
          <ac:cxnSpMkLst>
            <pc:docMk/>
            <pc:sldMk cId="3888688317" sldId="265"/>
            <ac:cxnSpMk id="156" creationId="{F9C7085F-3F9D-44B5-8FBB-77E60549BFDE}"/>
          </ac:cxnSpMkLst>
        </pc:cxnChg>
        <pc:cxnChg chg="mod ord topLvl">
          <ac:chgData name="Rashi bhardwaj" userId="a8ce0118b50dbc10" providerId="LiveId" clId="{E5E46110-B667-4E78-A35A-CC3AFDB851F9}" dt="2024-11-20T17:41:08.341" v="5448"/>
          <ac:cxnSpMkLst>
            <pc:docMk/>
            <pc:sldMk cId="3888688317" sldId="265"/>
            <ac:cxnSpMk id="157" creationId="{D636E074-6162-6AF0-9622-C2B8699EE867}"/>
          </ac:cxnSpMkLst>
        </pc:cxnChg>
        <pc:cxnChg chg="mod ord topLvl">
          <ac:chgData name="Rashi bhardwaj" userId="a8ce0118b50dbc10" providerId="LiveId" clId="{E5E46110-B667-4E78-A35A-CC3AFDB851F9}" dt="2024-11-20T17:41:08.341" v="5446"/>
          <ac:cxnSpMkLst>
            <pc:docMk/>
            <pc:sldMk cId="3888688317" sldId="265"/>
            <ac:cxnSpMk id="158" creationId="{7EADFDEF-FC38-BA5F-FC57-7AD505789341}"/>
          </ac:cxnSpMkLst>
        </pc:cxnChg>
        <pc:cxnChg chg="mod ord topLvl">
          <ac:chgData name="Rashi bhardwaj" userId="a8ce0118b50dbc10" providerId="LiveId" clId="{E5E46110-B667-4E78-A35A-CC3AFDB851F9}" dt="2024-11-20T17:41:08.341" v="5444"/>
          <ac:cxnSpMkLst>
            <pc:docMk/>
            <pc:sldMk cId="3888688317" sldId="265"/>
            <ac:cxnSpMk id="159" creationId="{4231C6BC-D519-CAF3-747A-28F2A4AD0A31}"/>
          </ac:cxnSpMkLst>
        </pc:cxnChg>
        <pc:cxnChg chg="mod ord topLvl">
          <ac:chgData name="Rashi bhardwaj" userId="a8ce0118b50dbc10" providerId="LiveId" clId="{E5E46110-B667-4E78-A35A-CC3AFDB851F9}" dt="2024-11-20T17:41:08.341" v="5442"/>
          <ac:cxnSpMkLst>
            <pc:docMk/>
            <pc:sldMk cId="3888688317" sldId="265"/>
            <ac:cxnSpMk id="166" creationId="{D40C4508-BD34-A7D9-489A-C73E4B5A345A}"/>
          </ac:cxnSpMkLst>
        </pc:cxnChg>
        <pc:cxnChg chg="mod ord topLvl">
          <ac:chgData name="Rashi bhardwaj" userId="a8ce0118b50dbc10" providerId="LiveId" clId="{E5E46110-B667-4E78-A35A-CC3AFDB851F9}" dt="2024-11-20T17:41:08.341" v="5440"/>
          <ac:cxnSpMkLst>
            <pc:docMk/>
            <pc:sldMk cId="3888688317" sldId="265"/>
            <ac:cxnSpMk id="169" creationId="{34E555F7-86AC-1026-E3CC-D6EB20ABAF95}"/>
          </ac:cxnSpMkLst>
        </pc:cxnChg>
        <pc:cxnChg chg="mod ord topLvl">
          <ac:chgData name="Rashi bhardwaj" userId="a8ce0118b50dbc10" providerId="LiveId" clId="{E5E46110-B667-4E78-A35A-CC3AFDB851F9}" dt="2024-11-20T17:41:08.454" v="5656"/>
          <ac:cxnSpMkLst>
            <pc:docMk/>
            <pc:sldMk cId="3888688317" sldId="265"/>
            <ac:cxnSpMk id="208" creationId="{AE78BBB8-7BF0-21DA-9E13-92D5FF9F4381}"/>
          </ac:cxnSpMkLst>
        </pc:cxnChg>
        <pc:cxnChg chg="mod ord topLvl">
          <ac:chgData name="Rashi bhardwaj" userId="a8ce0118b50dbc10" providerId="LiveId" clId="{E5E46110-B667-4E78-A35A-CC3AFDB851F9}" dt="2024-11-20T17:41:08.454" v="5654"/>
          <ac:cxnSpMkLst>
            <pc:docMk/>
            <pc:sldMk cId="3888688317" sldId="265"/>
            <ac:cxnSpMk id="209" creationId="{F3CB61D9-1D1D-C19D-8EC6-84A899FE2E51}"/>
          </ac:cxnSpMkLst>
        </pc:cxnChg>
        <pc:cxnChg chg="mod ord topLvl">
          <ac:chgData name="Rashi bhardwaj" userId="a8ce0118b50dbc10" providerId="LiveId" clId="{E5E46110-B667-4E78-A35A-CC3AFDB851F9}" dt="2024-11-20T17:41:08.453" v="5652"/>
          <ac:cxnSpMkLst>
            <pc:docMk/>
            <pc:sldMk cId="3888688317" sldId="265"/>
            <ac:cxnSpMk id="210" creationId="{0F9769A6-857B-9E96-6C31-20BC592A9F0F}"/>
          </ac:cxnSpMkLst>
        </pc:cxnChg>
        <pc:cxnChg chg="mod ord topLvl">
          <ac:chgData name="Rashi bhardwaj" userId="a8ce0118b50dbc10" providerId="LiveId" clId="{E5E46110-B667-4E78-A35A-CC3AFDB851F9}" dt="2024-11-20T17:41:08.447" v="5650"/>
          <ac:cxnSpMkLst>
            <pc:docMk/>
            <pc:sldMk cId="3888688317" sldId="265"/>
            <ac:cxnSpMk id="211" creationId="{A25413E2-B8FD-56CC-0287-28121B397BB2}"/>
          </ac:cxnSpMkLst>
        </pc:cxnChg>
        <pc:cxnChg chg="mod ord topLvl">
          <ac:chgData name="Rashi bhardwaj" userId="a8ce0118b50dbc10" providerId="LiveId" clId="{E5E46110-B667-4E78-A35A-CC3AFDB851F9}" dt="2024-11-20T17:41:08.447" v="5648"/>
          <ac:cxnSpMkLst>
            <pc:docMk/>
            <pc:sldMk cId="3888688317" sldId="265"/>
            <ac:cxnSpMk id="212" creationId="{2F81153A-4C2F-12DE-0DF4-6B5E91CE6F65}"/>
          </ac:cxnSpMkLst>
        </pc:cxnChg>
        <pc:cxnChg chg="mod ord topLvl">
          <ac:chgData name="Rashi bhardwaj" userId="a8ce0118b50dbc10" providerId="LiveId" clId="{E5E46110-B667-4E78-A35A-CC3AFDB851F9}" dt="2024-11-20T17:41:08.447" v="5646"/>
          <ac:cxnSpMkLst>
            <pc:docMk/>
            <pc:sldMk cId="3888688317" sldId="265"/>
            <ac:cxnSpMk id="213" creationId="{261454CE-B349-2CF3-A38D-931C38BB1A52}"/>
          </ac:cxnSpMkLst>
        </pc:cxnChg>
        <pc:cxnChg chg="mod ord topLvl">
          <ac:chgData name="Rashi bhardwaj" userId="a8ce0118b50dbc10" providerId="LiveId" clId="{E5E46110-B667-4E78-A35A-CC3AFDB851F9}" dt="2024-11-20T17:41:08.447" v="5644"/>
          <ac:cxnSpMkLst>
            <pc:docMk/>
            <pc:sldMk cId="3888688317" sldId="265"/>
            <ac:cxnSpMk id="214" creationId="{CF9C0502-E054-F40C-F83D-2A29E2BD1529}"/>
          </ac:cxnSpMkLst>
        </pc:cxnChg>
        <pc:cxnChg chg="del mod">
          <ac:chgData name="Rashi bhardwaj" userId="a8ce0118b50dbc10" providerId="LiveId" clId="{E5E46110-B667-4E78-A35A-CC3AFDB851F9}" dt="2024-11-20T17:41:08.144" v="5345"/>
          <ac:cxnSpMkLst>
            <pc:docMk/>
            <pc:sldMk cId="3888688317" sldId="265"/>
            <ac:cxnSpMk id="221" creationId="{C7B6A14B-1B99-F90A-AFE0-790F2C1619E8}"/>
          </ac:cxnSpMkLst>
        </pc:cxnChg>
        <pc:cxnChg chg="del mod">
          <ac:chgData name="Rashi bhardwaj" userId="a8ce0118b50dbc10" providerId="LiveId" clId="{E5E46110-B667-4E78-A35A-CC3AFDB851F9}" dt="2024-11-20T17:41:08.146" v="5349"/>
          <ac:cxnSpMkLst>
            <pc:docMk/>
            <pc:sldMk cId="3888688317" sldId="265"/>
            <ac:cxnSpMk id="222" creationId="{A917F3CE-8CD5-BB9B-91C5-F7071545DF69}"/>
          </ac:cxnSpMkLst>
        </pc:cxnChg>
        <pc:cxnChg chg="del mod">
          <ac:chgData name="Rashi bhardwaj" userId="a8ce0118b50dbc10" providerId="LiveId" clId="{E5E46110-B667-4E78-A35A-CC3AFDB851F9}" dt="2024-11-20T17:41:08.152" v="5351"/>
          <ac:cxnSpMkLst>
            <pc:docMk/>
            <pc:sldMk cId="3888688317" sldId="265"/>
            <ac:cxnSpMk id="223" creationId="{229DB610-B7B5-9CFA-CA53-84556CBB56FF}"/>
          </ac:cxnSpMkLst>
        </pc:cxnChg>
        <pc:cxnChg chg="del mod">
          <ac:chgData name="Rashi bhardwaj" userId="a8ce0118b50dbc10" providerId="LiveId" clId="{E5E46110-B667-4E78-A35A-CC3AFDB851F9}" dt="2024-11-20T17:41:08.146" v="5347"/>
          <ac:cxnSpMkLst>
            <pc:docMk/>
            <pc:sldMk cId="3888688317" sldId="265"/>
            <ac:cxnSpMk id="224" creationId="{323320E7-0D71-D1FD-1F5A-4AEF1BC2241D}"/>
          </ac:cxnSpMkLst>
        </pc:cxnChg>
        <pc:cxnChg chg="del mod">
          <ac:chgData name="Rashi bhardwaj" userId="a8ce0118b50dbc10" providerId="LiveId" clId="{E5E46110-B667-4E78-A35A-CC3AFDB851F9}" dt="2024-11-20T17:41:08.203" v="5375"/>
          <ac:cxnSpMkLst>
            <pc:docMk/>
            <pc:sldMk cId="3888688317" sldId="265"/>
            <ac:cxnSpMk id="225" creationId="{4859EC19-3989-EDAF-7475-B973DB3CFF5A}"/>
          </ac:cxnSpMkLst>
        </pc:cxnChg>
        <pc:cxnChg chg="del mod">
          <ac:chgData name="Rashi bhardwaj" userId="a8ce0118b50dbc10" providerId="LiveId" clId="{E5E46110-B667-4E78-A35A-CC3AFDB851F9}" dt="2024-11-20T17:41:08.205" v="5377"/>
          <ac:cxnSpMkLst>
            <pc:docMk/>
            <pc:sldMk cId="3888688317" sldId="265"/>
            <ac:cxnSpMk id="226" creationId="{78931F56-2408-CBC1-F3E1-BC861C572D39}"/>
          </ac:cxnSpMkLst>
        </pc:cxnChg>
        <pc:cxnChg chg="del mod">
          <ac:chgData name="Rashi bhardwaj" userId="a8ce0118b50dbc10" providerId="LiveId" clId="{E5E46110-B667-4E78-A35A-CC3AFDB851F9}" dt="2024-11-20T17:41:08.222" v="5391"/>
          <ac:cxnSpMkLst>
            <pc:docMk/>
            <pc:sldMk cId="3888688317" sldId="265"/>
            <ac:cxnSpMk id="227" creationId="{B64AF4B2-1DF7-844C-B9CD-735451DFB0A5}"/>
          </ac:cxnSpMkLst>
        </pc:cxnChg>
        <pc:cxnChg chg="del mod">
          <ac:chgData name="Rashi bhardwaj" userId="a8ce0118b50dbc10" providerId="LiveId" clId="{E5E46110-B667-4E78-A35A-CC3AFDB851F9}" dt="2024-11-20T17:41:08.224" v="5393"/>
          <ac:cxnSpMkLst>
            <pc:docMk/>
            <pc:sldMk cId="3888688317" sldId="265"/>
            <ac:cxnSpMk id="228" creationId="{07749A7B-AB7E-F534-8239-96C2E391FA0D}"/>
          </ac:cxnSpMkLst>
        </pc:cxnChg>
        <pc:cxnChg chg="mod ord topLvl">
          <ac:chgData name="Rashi bhardwaj" userId="a8ce0118b50dbc10" providerId="LiveId" clId="{E5E46110-B667-4E78-A35A-CC3AFDB851F9}" dt="2024-11-20T17:41:08.389" v="5562"/>
          <ac:cxnSpMkLst>
            <pc:docMk/>
            <pc:sldMk cId="3888688317" sldId="265"/>
            <ac:cxnSpMk id="1024" creationId="{C5E98B7E-E511-E0B4-E08B-87CB4E583ECE}"/>
          </ac:cxnSpMkLst>
        </pc:cxnChg>
        <pc:cxnChg chg="mod ord topLvl">
          <ac:chgData name="Rashi bhardwaj" userId="a8ce0118b50dbc10" providerId="LiveId" clId="{E5E46110-B667-4E78-A35A-CC3AFDB851F9}" dt="2024-11-20T17:41:08.389" v="5560"/>
          <ac:cxnSpMkLst>
            <pc:docMk/>
            <pc:sldMk cId="3888688317" sldId="265"/>
            <ac:cxnSpMk id="1025" creationId="{AC8D2FC4-EB9B-68A0-1398-4B5FF5C0AB9A}"/>
          </ac:cxnSpMkLst>
        </pc:cxnChg>
        <pc:cxnChg chg="mod ord topLvl">
          <ac:chgData name="Rashi bhardwaj" userId="a8ce0118b50dbc10" providerId="LiveId" clId="{E5E46110-B667-4E78-A35A-CC3AFDB851F9}" dt="2024-11-20T17:41:08.389" v="5558"/>
          <ac:cxnSpMkLst>
            <pc:docMk/>
            <pc:sldMk cId="3888688317" sldId="265"/>
            <ac:cxnSpMk id="1030" creationId="{93282DB0-2403-0909-DB34-124C3AC3E7F1}"/>
          </ac:cxnSpMkLst>
        </pc:cxnChg>
        <pc:cxnChg chg="mod ord topLvl">
          <ac:chgData name="Rashi bhardwaj" userId="a8ce0118b50dbc10" providerId="LiveId" clId="{E5E46110-B667-4E78-A35A-CC3AFDB851F9}" dt="2024-11-20T17:41:08.389" v="5556"/>
          <ac:cxnSpMkLst>
            <pc:docMk/>
            <pc:sldMk cId="3888688317" sldId="265"/>
            <ac:cxnSpMk id="1033" creationId="{12C8090A-8998-6183-5005-CF7939E10040}"/>
          </ac:cxnSpMkLst>
        </pc:cxnChg>
        <pc:cxnChg chg="mod ord topLvl">
          <ac:chgData name="Rashi bhardwaj" userId="a8ce0118b50dbc10" providerId="LiveId" clId="{E5E46110-B667-4E78-A35A-CC3AFDB851F9}" dt="2024-11-20T17:41:08.389" v="5554"/>
          <ac:cxnSpMkLst>
            <pc:docMk/>
            <pc:sldMk cId="3888688317" sldId="265"/>
            <ac:cxnSpMk id="1035" creationId="{F28B21DA-4369-2219-EF9E-29AE99702E96}"/>
          </ac:cxnSpMkLst>
        </pc:cxnChg>
        <pc:cxnChg chg="mod ord topLvl">
          <ac:chgData name="Rashi bhardwaj" userId="a8ce0118b50dbc10" providerId="LiveId" clId="{E5E46110-B667-4E78-A35A-CC3AFDB851F9}" dt="2024-11-20T17:41:08.389" v="5552"/>
          <ac:cxnSpMkLst>
            <pc:docMk/>
            <pc:sldMk cId="3888688317" sldId="265"/>
            <ac:cxnSpMk id="1037" creationId="{393A8E2F-C85C-EED0-35B0-574C7F7806E1}"/>
          </ac:cxnSpMkLst>
        </pc:cxnChg>
        <pc:cxnChg chg="mod ord topLvl">
          <ac:chgData name="Rashi bhardwaj" userId="a8ce0118b50dbc10" providerId="LiveId" clId="{E5E46110-B667-4E78-A35A-CC3AFDB851F9}" dt="2024-11-20T17:41:08.389" v="5550"/>
          <ac:cxnSpMkLst>
            <pc:docMk/>
            <pc:sldMk cId="3888688317" sldId="265"/>
            <ac:cxnSpMk id="1038" creationId="{BD4BE2ED-6B45-996F-5CBF-D9E5A29AD047}"/>
          </ac:cxnSpMkLst>
        </pc:cxnChg>
        <pc:cxnChg chg="mod ord topLvl">
          <ac:chgData name="Rashi bhardwaj" userId="a8ce0118b50dbc10" providerId="LiveId" clId="{E5E46110-B667-4E78-A35A-CC3AFDB851F9}" dt="2024-11-20T17:41:08.389" v="5548"/>
          <ac:cxnSpMkLst>
            <pc:docMk/>
            <pc:sldMk cId="3888688317" sldId="265"/>
            <ac:cxnSpMk id="1039" creationId="{0A5540C1-7FD0-A0FF-5640-AC2AD7E68995}"/>
          </ac:cxnSpMkLst>
        </pc:cxnChg>
        <pc:cxnChg chg="mod ord topLvl">
          <ac:chgData name="Rashi bhardwaj" userId="a8ce0118b50dbc10" providerId="LiveId" clId="{E5E46110-B667-4E78-A35A-CC3AFDB851F9}" dt="2024-11-20T17:41:08.382" v="5546"/>
          <ac:cxnSpMkLst>
            <pc:docMk/>
            <pc:sldMk cId="3888688317" sldId="265"/>
            <ac:cxnSpMk id="1041" creationId="{F8DF7683-CE02-1808-DBD5-4086EE3C2495}"/>
          </ac:cxnSpMkLst>
        </pc:cxnChg>
        <pc:cxnChg chg="mod ord topLvl">
          <ac:chgData name="Rashi bhardwaj" userId="a8ce0118b50dbc10" providerId="LiveId" clId="{E5E46110-B667-4E78-A35A-CC3AFDB851F9}" dt="2024-11-20T17:41:08.382" v="5544"/>
          <ac:cxnSpMkLst>
            <pc:docMk/>
            <pc:sldMk cId="3888688317" sldId="265"/>
            <ac:cxnSpMk id="1043" creationId="{84675C9B-B10D-DE07-0E08-3E02DDA53657}"/>
          </ac:cxnSpMkLst>
        </pc:cxnChg>
        <pc:cxnChg chg="mod ord topLvl">
          <ac:chgData name="Rashi bhardwaj" userId="a8ce0118b50dbc10" providerId="LiveId" clId="{E5E46110-B667-4E78-A35A-CC3AFDB851F9}" dt="2024-11-20T17:41:08.382" v="5542"/>
          <ac:cxnSpMkLst>
            <pc:docMk/>
            <pc:sldMk cId="3888688317" sldId="265"/>
            <ac:cxnSpMk id="1044" creationId="{95B9A0A6-1C15-D7DA-2F85-9CC66EE6D7D9}"/>
          </ac:cxnSpMkLst>
        </pc:cxnChg>
        <pc:cxnChg chg="mod ord topLvl">
          <ac:chgData name="Rashi bhardwaj" userId="a8ce0118b50dbc10" providerId="LiveId" clId="{E5E46110-B667-4E78-A35A-CC3AFDB851F9}" dt="2024-11-20T17:41:08.382" v="5540"/>
          <ac:cxnSpMkLst>
            <pc:docMk/>
            <pc:sldMk cId="3888688317" sldId="265"/>
            <ac:cxnSpMk id="1046" creationId="{330A7A2C-8567-C726-F5D6-8A80ECC6607B}"/>
          </ac:cxnSpMkLst>
        </pc:cxnChg>
        <pc:cxnChg chg="mod ord topLvl">
          <ac:chgData name="Rashi bhardwaj" userId="a8ce0118b50dbc10" providerId="LiveId" clId="{E5E46110-B667-4E78-A35A-CC3AFDB851F9}" dt="2024-11-20T17:41:08.382" v="5538"/>
          <ac:cxnSpMkLst>
            <pc:docMk/>
            <pc:sldMk cId="3888688317" sldId="265"/>
            <ac:cxnSpMk id="1048" creationId="{F84C1F44-E5D9-B8A2-7CA8-627F04B3D0A8}"/>
          </ac:cxnSpMkLst>
        </pc:cxnChg>
        <pc:cxnChg chg="mod ord topLvl">
          <ac:chgData name="Rashi bhardwaj" userId="a8ce0118b50dbc10" providerId="LiveId" clId="{E5E46110-B667-4E78-A35A-CC3AFDB851F9}" dt="2024-11-20T17:41:08.382" v="5536"/>
          <ac:cxnSpMkLst>
            <pc:docMk/>
            <pc:sldMk cId="3888688317" sldId="265"/>
            <ac:cxnSpMk id="1050" creationId="{C4653C0A-490E-8426-B959-735790A1E560}"/>
          </ac:cxnSpMkLst>
        </pc:cxnChg>
        <pc:cxnChg chg="mod ord topLvl">
          <ac:chgData name="Rashi bhardwaj" userId="a8ce0118b50dbc10" providerId="LiveId" clId="{E5E46110-B667-4E78-A35A-CC3AFDB851F9}" dt="2024-11-20T17:41:08.382" v="5534"/>
          <ac:cxnSpMkLst>
            <pc:docMk/>
            <pc:sldMk cId="3888688317" sldId="265"/>
            <ac:cxnSpMk id="1052" creationId="{BE12EAEC-47C7-464E-47AD-FEC02B7FF3FC}"/>
          </ac:cxnSpMkLst>
        </pc:cxnChg>
        <pc:cxnChg chg="mod ord topLvl">
          <ac:chgData name="Rashi bhardwaj" userId="a8ce0118b50dbc10" providerId="LiveId" clId="{E5E46110-B667-4E78-A35A-CC3AFDB851F9}" dt="2024-11-20T17:41:08.382" v="5532"/>
          <ac:cxnSpMkLst>
            <pc:docMk/>
            <pc:sldMk cId="3888688317" sldId="265"/>
            <ac:cxnSpMk id="1053" creationId="{19FDCD40-B109-502E-B057-85E083D2781A}"/>
          </ac:cxnSpMkLst>
        </pc:cxnChg>
        <pc:cxnChg chg="mod ord topLvl">
          <ac:chgData name="Rashi bhardwaj" userId="a8ce0118b50dbc10" providerId="LiveId" clId="{E5E46110-B667-4E78-A35A-CC3AFDB851F9}" dt="2024-11-20T17:41:08.382" v="5530"/>
          <ac:cxnSpMkLst>
            <pc:docMk/>
            <pc:sldMk cId="3888688317" sldId="265"/>
            <ac:cxnSpMk id="1054" creationId="{FC98FACF-40D4-94C6-3A14-1A1335EB77B1}"/>
          </ac:cxnSpMkLst>
        </pc:cxnChg>
        <pc:cxnChg chg="mod ord topLvl">
          <ac:chgData name="Rashi bhardwaj" userId="a8ce0118b50dbc10" providerId="LiveId" clId="{E5E46110-B667-4E78-A35A-CC3AFDB851F9}" dt="2024-11-20T17:41:08.380" v="5528"/>
          <ac:cxnSpMkLst>
            <pc:docMk/>
            <pc:sldMk cId="3888688317" sldId="265"/>
            <ac:cxnSpMk id="1055" creationId="{3C3A920E-9CBB-812C-E5F6-F90F1F83F37D}"/>
          </ac:cxnSpMkLst>
        </pc:cxnChg>
        <pc:cxnChg chg="mod ord topLvl">
          <ac:chgData name="Rashi bhardwaj" userId="a8ce0118b50dbc10" providerId="LiveId" clId="{E5E46110-B667-4E78-A35A-CC3AFDB851F9}" dt="2024-11-20T17:41:08.372" v="5526"/>
          <ac:cxnSpMkLst>
            <pc:docMk/>
            <pc:sldMk cId="3888688317" sldId="265"/>
            <ac:cxnSpMk id="1057" creationId="{64493FDF-861C-B017-D70F-7AE952143BFB}"/>
          </ac:cxnSpMkLst>
        </pc:cxnChg>
        <pc:cxnChg chg="mod ord topLvl">
          <ac:chgData name="Rashi bhardwaj" userId="a8ce0118b50dbc10" providerId="LiveId" clId="{E5E46110-B667-4E78-A35A-CC3AFDB851F9}" dt="2024-11-20T17:41:08.372" v="5524"/>
          <ac:cxnSpMkLst>
            <pc:docMk/>
            <pc:sldMk cId="3888688317" sldId="265"/>
            <ac:cxnSpMk id="1059" creationId="{C4E88C73-37A8-DCE1-838A-83843FFF18FC}"/>
          </ac:cxnSpMkLst>
        </pc:cxnChg>
        <pc:cxnChg chg="mod ord topLvl">
          <ac:chgData name="Rashi bhardwaj" userId="a8ce0118b50dbc10" providerId="LiveId" clId="{E5E46110-B667-4E78-A35A-CC3AFDB851F9}" dt="2024-11-20T17:41:08.372" v="5522"/>
          <ac:cxnSpMkLst>
            <pc:docMk/>
            <pc:sldMk cId="3888688317" sldId="265"/>
            <ac:cxnSpMk id="1060" creationId="{404E093B-A27D-353B-45A4-1F84E74E28D1}"/>
          </ac:cxnSpMkLst>
        </pc:cxnChg>
        <pc:cxnChg chg="mod ord topLvl">
          <ac:chgData name="Rashi bhardwaj" userId="a8ce0118b50dbc10" providerId="LiveId" clId="{E5E46110-B667-4E78-A35A-CC3AFDB851F9}" dt="2024-11-20T17:41:08.372" v="5520"/>
          <ac:cxnSpMkLst>
            <pc:docMk/>
            <pc:sldMk cId="3888688317" sldId="265"/>
            <ac:cxnSpMk id="1061" creationId="{604E2F52-F12B-B63F-6E53-217D2D32A941}"/>
          </ac:cxnSpMkLst>
        </pc:cxnChg>
        <pc:cxnChg chg="mod ord topLvl">
          <ac:chgData name="Rashi bhardwaj" userId="a8ce0118b50dbc10" providerId="LiveId" clId="{E5E46110-B667-4E78-A35A-CC3AFDB851F9}" dt="2024-11-20T17:41:08.372" v="5518"/>
          <ac:cxnSpMkLst>
            <pc:docMk/>
            <pc:sldMk cId="3888688317" sldId="265"/>
            <ac:cxnSpMk id="1062" creationId="{19A175D3-1DDF-8F45-0E4B-E4F08AAB71D7}"/>
          </ac:cxnSpMkLst>
        </pc:cxnChg>
        <pc:cxnChg chg="mod ord topLvl">
          <ac:chgData name="Rashi bhardwaj" userId="a8ce0118b50dbc10" providerId="LiveId" clId="{E5E46110-B667-4E78-A35A-CC3AFDB851F9}" dt="2024-11-20T17:41:08.372" v="5516"/>
          <ac:cxnSpMkLst>
            <pc:docMk/>
            <pc:sldMk cId="3888688317" sldId="265"/>
            <ac:cxnSpMk id="1063" creationId="{97ED5D8D-FA85-7162-C02E-E51C13D3938A}"/>
          </ac:cxnSpMkLst>
        </pc:cxnChg>
        <pc:cxnChg chg="mod ord topLvl">
          <ac:chgData name="Rashi bhardwaj" userId="a8ce0118b50dbc10" providerId="LiveId" clId="{E5E46110-B667-4E78-A35A-CC3AFDB851F9}" dt="2024-11-20T17:41:08.372" v="5514"/>
          <ac:cxnSpMkLst>
            <pc:docMk/>
            <pc:sldMk cId="3888688317" sldId="265"/>
            <ac:cxnSpMk id="1064" creationId="{A3B1A251-11A9-D850-4834-E9668B13BA04}"/>
          </ac:cxnSpMkLst>
        </pc:cxnChg>
        <pc:cxnChg chg="mod ord topLvl">
          <ac:chgData name="Rashi bhardwaj" userId="a8ce0118b50dbc10" providerId="LiveId" clId="{E5E46110-B667-4E78-A35A-CC3AFDB851F9}" dt="2024-11-20T17:41:08.372" v="5512"/>
          <ac:cxnSpMkLst>
            <pc:docMk/>
            <pc:sldMk cId="3888688317" sldId="265"/>
            <ac:cxnSpMk id="1066" creationId="{982397C1-B4C1-7F99-67DB-E949FE1AA0F5}"/>
          </ac:cxnSpMkLst>
        </pc:cxnChg>
        <pc:cxnChg chg="mod ord topLvl">
          <ac:chgData name="Rashi bhardwaj" userId="a8ce0118b50dbc10" providerId="LiveId" clId="{E5E46110-B667-4E78-A35A-CC3AFDB851F9}" dt="2024-11-20T17:41:08.372" v="5510"/>
          <ac:cxnSpMkLst>
            <pc:docMk/>
            <pc:sldMk cId="3888688317" sldId="265"/>
            <ac:cxnSpMk id="1068" creationId="{5CAF0104-A7B9-9235-FAC0-D95C4088CFC2}"/>
          </ac:cxnSpMkLst>
        </pc:cxnChg>
        <pc:cxnChg chg="mod ord topLvl">
          <ac:chgData name="Rashi bhardwaj" userId="a8ce0118b50dbc10" providerId="LiveId" clId="{E5E46110-B667-4E78-A35A-CC3AFDB851F9}" dt="2024-11-20T17:41:08.372" v="5508"/>
          <ac:cxnSpMkLst>
            <pc:docMk/>
            <pc:sldMk cId="3888688317" sldId="265"/>
            <ac:cxnSpMk id="1069" creationId="{594ABD73-03FF-2044-93CF-29478927F945}"/>
          </ac:cxnSpMkLst>
        </pc:cxnChg>
        <pc:cxnChg chg="mod ord topLvl">
          <ac:chgData name="Rashi bhardwaj" userId="a8ce0118b50dbc10" providerId="LiveId" clId="{E5E46110-B667-4E78-A35A-CC3AFDB851F9}" dt="2024-11-20T17:41:08.367" v="5506"/>
          <ac:cxnSpMkLst>
            <pc:docMk/>
            <pc:sldMk cId="3888688317" sldId="265"/>
            <ac:cxnSpMk id="1070" creationId="{0837CC25-2608-56EC-AA46-BF5A46FEAB9A}"/>
          </ac:cxnSpMkLst>
        </pc:cxnChg>
        <pc:cxnChg chg="mod ord topLvl">
          <ac:chgData name="Rashi bhardwaj" userId="a8ce0118b50dbc10" providerId="LiveId" clId="{E5E46110-B667-4E78-A35A-CC3AFDB851F9}" dt="2024-11-20T17:41:08.367" v="5504"/>
          <ac:cxnSpMkLst>
            <pc:docMk/>
            <pc:sldMk cId="3888688317" sldId="265"/>
            <ac:cxnSpMk id="1071" creationId="{019A3C1E-362D-EBA1-FC19-08B3F81539B8}"/>
          </ac:cxnSpMkLst>
        </pc:cxnChg>
        <pc:cxnChg chg="mod ord topLvl">
          <ac:chgData name="Rashi bhardwaj" userId="a8ce0118b50dbc10" providerId="LiveId" clId="{E5E46110-B667-4E78-A35A-CC3AFDB851F9}" dt="2024-11-20T17:41:08.367" v="5502"/>
          <ac:cxnSpMkLst>
            <pc:docMk/>
            <pc:sldMk cId="3888688317" sldId="265"/>
            <ac:cxnSpMk id="1072" creationId="{0AE6D560-33FC-3EDC-C605-AD5E08EEEE6D}"/>
          </ac:cxnSpMkLst>
        </pc:cxnChg>
        <pc:cxnChg chg="mod ord topLvl">
          <ac:chgData name="Rashi bhardwaj" userId="a8ce0118b50dbc10" providerId="LiveId" clId="{E5E46110-B667-4E78-A35A-CC3AFDB851F9}" dt="2024-11-20T17:41:08.367" v="5500"/>
          <ac:cxnSpMkLst>
            <pc:docMk/>
            <pc:sldMk cId="3888688317" sldId="265"/>
            <ac:cxnSpMk id="1073" creationId="{52F7F8B4-BF09-3B2E-4053-B00DC3A03637}"/>
          </ac:cxnSpMkLst>
        </pc:cxnChg>
        <pc:cxnChg chg="mod ord topLvl">
          <ac:chgData name="Rashi bhardwaj" userId="a8ce0118b50dbc10" providerId="LiveId" clId="{E5E46110-B667-4E78-A35A-CC3AFDB851F9}" dt="2024-11-20T17:41:08.367" v="5498"/>
          <ac:cxnSpMkLst>
            <pc:docMk/>
            <pc:sldMk cId="3888688317" sldId="265"/>
            <ac:cxnSpMk id="1075" creationId="{1456CC91-4ECA-9021-48B5-9FA338DC8AC6}"/>
          </ac:cxnSpMkLst>
        </pc:cxnChg>
        <pc:cxnChg chg="mod ord topLvl">
          <ac:chgData name="Rashi bhardwaj" userId="a8ce0118b50dbc10" providerId="LiveId" clId="{E5E46110-B667-4E78-A35A-CC3AFDB851F9}" dt="2024-11-20T17:41:08.367" v="5496"/>
          <ac:cxnSpMkLst>
            <pc:docMk/>
            <pc:sldMk cId="3888688317" sldId="265"/>
            <ac:cxnSpMk id="1077" creationId="{40C16E49-06BD-9F45-6E39-23F1F3A4B391}"/>
          </ac:cxnSpMkLst>
        </pc:cxnChg>
        <pc:cxnChg chg="mod ord topLvl">
          <ac:chgData name="Rashi bhardwaj" userId="a8ce0118b50dbc10" providerId="LiveId" clId="{E5E46110-B667-4E78-A35A-CC3AFDB851F9}" dt="2024-11-20T17:41:08.367" v="5494"/>
          <ac:cxnSpMkLst>
            <pc:docMk/>
            <pc:sldMk cId="3888688317" sldId="265"/>
            <ac:cxnSpMk id="1078" creationId="{2B01B5DD-166A-5F6B-6C1E-60AB7D03E0B0}"/>
          </ac:cxnSpMkLst>
        </pc:cxnChg>
        <pc:cxnChg chg="mod ord topLvl">
          <ac:chgData name="Rashi bhardwaj" userId="a8ce0118b50dbc10" providerId="LiveId" clId="{E5E46110-B667-4E78-A35A-CC3AFDB851F9}" dt="2024-11-20T17:41:08.367" v="5492"/>
          <ac:cxnSpMkLst>
            <pc:docMk/>
            <pc:sldMk cId="3888688317" sldId="265"/>
            <ac:cxnSpMk id="1079" creationId="{6996DE6B-F394-2A30-58E5-6A07F0FE4303}"/>
          </ac:cxnSpMkLst>
        </pc:cxnChg>
        <pc:cxnChg chg="mod ord topLvl">
          <ac:chgData name="Rashi bhardwaj" userId="a8ce0118b50dbc10" providerId="LiveId" clId="{E5E46110-B667-4E78-A35A-CC3AFDB851F9}" dt="2024-11-20T17:41:08.365" v="5490"/>
          <ac:cxnSpMkLst>
            <pc:docMk/>
            <pc:sldMk cId="3888688317" sldId="265"/>
            <ac:cxnSpMk id="1080" creationId="{AD57C9C1-64AE-9CF9-90BE-62EDAE1F9F12}"/>
          </ac:cxnSpMkLst>
        </pc:cxnChg>
        <pc:cxnChg chg="mod ord topLvl">
          <ac:chgData name="Rashi bhardwaj" userId="a8ce0118b50dbc10" providerId="LiveId" clId="{E5E46110-B667-4E78-A35A-CC3AFDB851F9}" dt="2024-11-20T17:41:08.364" v="5488"/>
          <ac:cxnSpMkLst>
            <pc:docMk/>
            <pc:sldMk cId="3888688317" sldId="265"/>
            <ac:cxnSpMk id="1081" creationId="{51D6B725-B70F-C156-92E5-AE713722BB84}"/>
          </ac:cxnSpMkLst>
        </pc:cxnChg>
        <pc:cxnChg chg="mod ord topLvl">
          <ac:chgData name="Rashi bhardwaj" userId="a8ce0118b50dbc10" providerId="LiveId" clId="{E5E46110-B667-4E78-A35A-CC3AFDB851F9}" dt="2024-11-20T17:41:08.360" v="5486"/>
          <ac:cxnSpMkLst>
            <pc:docMk/>
            <pc:sldMk cId="3888688317" sldId="265"/>
            <ac:cxnSpMk id="1082" creationId="{B34EC0F1-7603-3673-2047-4B8F351E0CF7}"/>
          </ac:cxnSpMkLst>
        </pc:cxnChg>
        <pc:cxnChg chg="mod ord topLvl">
          <ac:chgData name="Rashi bhardwaj" userId="a8ce0118b50dbc10" providerId="LiveId" clId="{E5E46110-B667-4E78-A35A-CC3AFDB851F9}" dt="2024-11-20T17:41:08.360" v="5484"/>
          <ac:cxnSpMkLst>
            <pc:docMk/>
            <pc:sldMk cId="3888688317" sldId="265"/>
            <ac:cxnSpMk id="1084" creationId="{38F55479-B864-94DD-D08F-36597978D141}"/>
          </ac:cxnSpMkLst>
        </pc:cxnChg>
        <pc:cxnChg chg="mod ord topLvl">
          <ac:chgData name="Rashi bhardwaj" userId="a8ce0118b50dbc10" providerId="LiveId" clId="{E5E46110-B667-4E78-A35A-CC3AFDB851F9}" dt="2024-11-20T17:41:08.360" v="5482"/>
          <ac:cxnSpMkLst>
            <pc:docMk/>
            <pc:sldMk cId="3888688317" sldId="265"/>
            <ac:cxnSpMk id="1086" creationId="{8E0ED516-0756-19C0-154B-7532331E3777}"/>
          </ac:cxnSpMkLst>
        </pc:cxnChg>
        <pc:cxnChg chg="mod ord topLvl">
          <ac:chgData name="Rashi bhardwaj" userId="a8ce0118b50dbc10" providerId="LiveId" clId="{E5E46110-B667-4E78-A35A-CC3AFDB851F9}" dt="2024-11-20T17:41:08.360" v="5480"/>
          <ac:cxnSpMkLst>
            <pc:docMk/>
            <pc:sldMk cId="3888688317" sldId="265"/>
            <ac:cxnSpMk id="1087" creationId="{03D9F354-28D7-D1F7-C539-181F0199D934}"/>
          </ac:cxnSpMkLst>
        </pc:cxnChg>
      </pc:sldChg>
      <pc:sldChg chg="addSp delSp modSp mod">
        <pc:chgData name="Rashi bhardwaj" userId="a8ce0118b50dbc10" providerId="LiveId" clId="{E5E46110-B667-4E78-A35A-CC3AFDB851F9}" dt="2024-11-21T10:15:37.662" v="11155"/>
        <pc:sldMkLst>
          <pc:docMk/>
          <pc:sldMk cId="2538419880" sldId="266"/>
        </pc:sldMkLst>
        <pc:spChg chg="add mod">
          <ac:chgData name="Rashi bhardwaj" userId="a8ce0118b50dbc10" providerId="LiveId" clId="{E5E46110-B667-4E78-A35A-CC3AFDB851F9}" dt="2024-11-20T20:02:06.939" v="8791"/>
          <ac:spMkLst>
            <pc:docMk/>
            <pc:sldMk cId="2538419880" sldId="266"/>
            <ac:spMk id="2" creationId="{9A9DEB62-FAE3-216C-8995-B0C5D391DCD8}"/>
          </ac:spMkLst>
        </pc:spChg>
        <pc:spChg chg="mod">
          <ac:chgData name="Rashi bhardwaj" userId="a8ce0118b50dbc10" providerId="LiveId" clId="{E5E46110-B667-4E78-A35A-CC3AFDB851F9}" dt="2024-11-19T20:11:46.782" v="4286" actId="255"/>
          <ac:spMkLst>
            <pc:docMk/>
            <pc:sldMk cId="2538419880" sldId="266"/>
            <ac:spMk id="6" creationId="{4A7EFBD1-04A1-476B-AF8B-1AD32F27E35F}"/>
          </ac:spMkLst>
        </pc:spChg>
        <pc:spChg chg="add mod">
          <ac:chgData name="Rashi bhardwaj" userId="a8ce0118b50dbc10" providerId="LiveId" clId="{E5E46110-B667-4E78-A35A-CC3AFDB851F9}" dt="2024-11-20T20:02:06.939" v="8791"/>
          <ac:spMkLst>
            <pc:docMk/>
            <pc:sldMk cId="2538419880" sldId="266"/>
            <ac:spMk id="8" creationId="{243EA527-98A0-2B62-AE4D-BF9B0600D249}"/>
          </ac:spMkLst>
        </pc:spChg>
        <pc:spChg chg="mod">
          <ac:chgData name="Rashi bhardwaj" userId="a8ce0118b50dbc10" providerId="LiveId" clId="{E5E46110-B667-4E78-A35A-CC3AFDB851F9}" dt="2024-11-21T10:06:09.992" v="10948" actId="1035"/>
          <ac:spMkLst>
            <pc:docMk/>
            <pc:sldMk cId="2538419880" sldId="266"/>
            <ac:spMk id="19" creationId="{6B55FE36-67E1-D27F-531C-4D37D91345DD}"/>
          </ac:spMkLst>
        </pc:spChg>
        <pc:spChg chg="del mod ord">
          <ac:chgData name="Rashi bhardwaj" userId="a8ce0118b50dbc10" providerId="LiveId" clId="{E5E46110-B667-4E78-A35A-CC3AFDB851F9}" dt="2024-11-21T09:59:42.131" v="10746" actId="478"/>
          <ac:spMkLst>
            <pc:docMk/>
            <pc:sldMk cId="2538419880" sldId="266"/>
            <ac:spMk id="20" creationId="{D6A07275-E70D-76E6-8DC3-E41E4793DFD8}"/>
          </ac:spMkLst>
        </pc:spChg>
        <pc:spChg chg="add del mod">
          <ac:chgData name="Rashi bhardwaj" userId="a8ce0118b50dbc10" providerId="LiveId" clId="{E5E46110-B667-4E78-A35A-CC3AFDB851F9}" dt="2024-11-20T20:10:42.568" v="8883" actId="478"/>
          <ac:spMkLst>
            <pc:docMk/>
            <pc:sldMk cId="2538419880" sldId="266"/>
            <ac:spMk id="22" creationId="{92C1C492-4ECC-AF84-7C72-B01AA1BC7E08}"/>
          </ac:spMkLst>
        </pc:spChg>
        <pc:spChg chg="add mod">
          <ac:chgData name="Rashi bhardwaj" userId="a8ce0118b50dbc10" providerId="LiveId" clId="{E5E46110-B667-4E78-A35A-CC3AFDB851F9}" dt="2024-11-20T20:08:10.093" v="8855" actId="1036"/>
          <ac:spMkLst>
            <pc:docMk/>
            <pc:sldMk cId="2538419880" sldId="266"/>
            <ac:spMk id="23" creationId="{585FDD68-3868-8850-9DCD-F1B59D610239}"/>
          </ac:spMkLst>
        </pc:spChg>
        <pc:spChg chg="add del mod">
          <ac:chgData name="Rashi bhardwaj" userId="a8ce0118b50dbc10" providerId="LiveId" clId="{E5E46110-B667-4E78-A35A-CC3AFDB851F9}" dt="2024-11-20T20:10:13.757" v="8880" actId="478"/>
          <ac:spMkLst>
            <pc:docMk/>
            <pc:sldMk cId="2538419880" sldId="266"/>
            <ac:spMk id="24" creationId="{FE04528F-C3E3-4C88-04AC-4ED2BDF5A15F}"/>
          </ac:spMkLst>
        </pc:spChg>
        <pc:spChg chg="add del mod">
          <ac:chgData name="Rashi bhardwaj" userId="a8ce0118b50dbc10" providerId="LiveId" clId="{E5E46110-B667-4E78-A35A-CC3AFDB851F9}" dt="2024-11-20T20:10:11.896" v="8879" actId="478"/>
          <ac:spMkLst>
            <pc:docMk/>
            <pc:sldMk cId="2538419880" sldId="266"/>
            <ac:spMk id="26" creationId="{B96F4836-D37F-F169-0211-419DBD566435}"/>
          </ac:spMkLst>
        </pc:spChg>
        <pc:spChg chg="add del mod">
          <ac:chgData name="Rashi bhardwaj" userId="a8ce0118b50dbc10" providerId="LiveId" clId="{E5E46110-B667-4E78-A35A-CC3AFDB851F9}" dt="2024-11-20T20:10:09.725" v="8878" actId="478"/>
          <ac:spMkLst>
            <pc:docMk/>
            <pc:sldMk cId="2538419880" sldId="266"/>
            <ac:spMk id="33" creationId="{D8ED94A8-4C81-6441-F5BA-0943461EF554}"/>
          </ac:spMkLst>
        </pc:spChg>
        <pc:spChg chg="add del mod">
          <ac:chgData name="Rashi bhardwaj" userId="a8ce0118b50dbc10" providerId="LiveId" clId="{E5E46110-B667-4E78-A35A-CC3AFDB851F9}" dt="2024-11-20T20:10:07.767" v="8877" actId="478"/>
          <ac:spMkLst>
            <pc:docMk/>
            <pc:sldMk cId="2538419880" sldId="266"/>
            <ac:spMk id="34" creationId="{5D7276E7-E776-E938-B609-B81BB463BF9F}"/>
          </ac:spMkLst>
        </pc:spChg>
        <pc:spChg chg="add del mod">
          <ac:chgData name="Rashi bhardwaj" userId="a8ce0118b50dbc10" providerId="LiveId" clId="{E5E46110-B667-4E78-A35A-CC3AFDB851F9}" dt="2024-11-20T20:10:06.171" v="8876" actId="478"/>
          <ac:spMkLst>
            <pc:docMk/>
            <pc:sldMk cId="2538419880" sldId="266"/>
            <ac:spMk id="41" creationId="{38AF4F50-5256-68CF-3B14-B652A96966D3}"/>
          </ac:spMkLst>
        </pc:spChg>
        <pc:spChg chg="mod">
          <ac:chgData name="Rashi bhardwaj" userId="a8ce0118b50dbc10" providerId="LiveId" clId="{E5E46110-B667-4E78-A35A-CC3AFDB851F9}" dt="2024-11-21T09:46:09.410" v="10322" actId="14100"/>
          <ac:spMkLst>
            <pc:docMk/>
            <pc:sldMk cId="2538419880" sldId="266"/>
            <ac:spMk id="43" creationId="{5C5830A0-D65C-09DF-0682-D5DE97B30DCE}"/>
          </ac:spMkLst>
        </pc:spChg>
        <pc:spChg chg="mod">
          <ac:chgData name="Rashi bhardwaj" userId="a8ce0118b50dbc10" providerId="LiveId" clId="{E5E46110-B667-4E78-A35A-CC3AFDB851F9}" dt="2024-11-21T09:45:59.134" v="10321" actId="14100"/>
          <ac:spMkLst>
            <pc:docMk/>
            <pc:sldMk cId="2538419880" sldId="266"/>
            <ac:spMk id="44" creationId="{18FD6E9C-9E9C-EC63-8E44-A42B3CC96E7A}"/>
          </ac:spMkLst>
        </pc:spChg>
        <pc:spChg chg="add del mod">
          <ac:chgData name="Rashi bhardwaj" userId="a8ce0118b50dbc10" providerId="LiveId" clId="{E5E46110-B667-4E78-A35A-CC3AFDB851F9}" dt="2024-11-20T20:09:58.437" v="8875" actId="478"/>
          <ac:spMkLst>
            <pc:docMk/>
            <pc:sldMk cId="2538419880" sldId="266"/>
            <ac:spMk id="45" creationId="{81CC33C1-BFF4-5010-4BE9-691C846DEB17}"/>
          </ac:spMkLst>
        </pc:spChg>
        <pc:spChg chg="mod">
          <ac:chgData name="Rashi bhardwaj" userId="a8ce0118b50dbc10" providerId="LiveId" clId="{E5E46110-B667-4E78-A35A-CC3AFDB851F9}" dt="2024-11-21T09:46:47.043" v="10330" actId="1036"/>
          <ac:spMkLst>
            <pc:docMk/>
            <pc:sldMk cId="2538419880" sldId="266"/>
            <ac:spMk id="55" creationId="{DA857A18-4DF7-16FB-A974-1E3031B6EB1A}"/>
          </ac:spMkLst>
        </pc:spChg>
        <pc:spChg chg="add mod">
          <ac:chgData name="Rashi bhardwaj" userId="a8ce0118b50dbc10" providerId="LiveId" clId="{E5E46110-B667-4E78-A35A-CC3AFDB851F9}" dt="2024-11-21T10:02:21.246" v="10859" actId="1036"/>
          <ac:spMkLst>
            <pc:docMk/>
            <pc:sldMk cId="2538419880" sldId="266"/>
            <ac:spMk id="62" creationId="{489F2A92-AFA3-0FDB-DFE9-37241869F37D}"/>
          </ac:spMkLst>
        </pc:spChg>
        <pc:spChg chg="del mod">
          <ac:chgData name="Rashi bhardwaj" userId="a8ce0118b50dbc10" providerId="LiveId" clId="{E5E46110-B667-4E78-A35A-CC3AFDB851F9}" dt="2024-11-20T20:01:52.857" v="8785" actId="478"/>
          <ac:spMkLst>
            <pc:docMk/>
            <pc:sldMk cId="2538419880" sldId="266"/>
            <ac:spMk id="62" creationId="{F6A6876F-0559-6DE5-6D63-D608798530E3}"/>
          </ac:spMkLst>
        </pc:spChg>
        <pc:spChg chg="add mod">
          <ac:chgData name="Rashi bhardwaj" userId="a8ce0118b50dbc10" providerId="LiveId" clId="{E5E46110-B667-4E78-A35A-CC3AFDB851F9}" dt="2024-11-21T10:02:27.875" v="10867" actId="1036"/>
          <ac:spMkLst>
            <pc:docMk/>
            <pc:sldMk cId="2538419880" sldId="266"/>
            <ac:spMk id="63" creationId="{16452C9F-1D8A-92F1-D694-C7C8C31AE66C}"/>
          </ac:spMkLst>
        </pc:spChg>
        <pc:spChg chg="del">
          <ac:chgData name="Rashi bhardwaj" userId="a8ce0118b50dbc10" providerId="LiveId" clId="{E5E46110-B667-4E78-A35A-CC3AFDB851F9}" dt="2024-11-20T20:01:54.884" v="8786" actId="478"/>
          <ac:spMkLst>
            <pc:docMk/>
            <pc:sldMk cId="2538419880" sldId="266"/>
            <ac:spMk id="63" creationId="{A0975029-757A-AF41-3A21-D38A1725A6E5}"/>
          </ac:spMkLst>
        </pc:spChg>
        <pc:spChg chg="del">
          <ac:chgData name="Rashi bhardwaj" userId="a8ce0118b50dbc10" providerId="LiveId" clId="{E5E46110-B667-4E78-A35A-CC3AFDB851F9}" dt="2024-11-20T20:01:57.558" v="8787" actId="478"/>
          <ac:spMkLst>
            <pc:docMk/>
            <pc:sldMk cId="2538419880" sldId="266"/>
            <ac:spMk id="64" creationId="{182BDBA3-BFA2-EC50-0BE8-422F106420EC}"/>
          </ac:spMkLst>
        </pc:spChg>
        <pc:spChg chg="add mod">
          <ac:chgData name="Rashi bhardwaj" userId="a8ce0118b50dbc10" providerId="LiveId" clId="{E5E46110-B667-4E78-A35A-CC3AFDB851F9}" dt="2024-11-21T10:02:34.958" v="10875" actId="1036"/>
          <ac:spMkLst>
            <pc:docMk/>
            <pc:sldMk cId="2538419880" sldId="266"/>
            <ac:spMk id="64" creationId="{85459945-480D-1C5E-FE10-7266FAA8B8DA}"/>
          </ac:spMkLst>
        </pc:spChg>
        <pc:spChg chg="del">
          <ac:chgData name="Rashi bhardwaj" userId="a8ce0118b50dbc10" providerId="LiveId" clId="{E5E46110-B667-4E78-A35A-CC3AFDB851F9}" dt="2024-11-20T20:02:00.406" v="8788" actId="478"/>
          <ac:spMkLst>
            <pc:docMk/>
            <pc:sldMk cId="2538419880" sldId="266"/>
            <ac:spMk id="65" creationId="{231022B0-9666-615E-5937-D14874FFDD30}"/>
          </ac:spMkLst>
        </pc:spChg>
        <pc:spChg chg="add mod">
          <ac:chgData name="Rashi bhardwaj" userId="a8ce0118b50dbc10" providerId="LiveId" clId="{E5E46110-B667-4E78-A35A-CC3AFDB851F9}" dt="2024-11-21T10:02:40.216" v="10883" actId="1036"/>
          <ac:spMkLst>
            <pc:docMk/>
            <pc:sldMk cId="2538419880" sldId="266"/>
            <ac:spMk id="65" creationId="{6372CC14-315E-8AC9-B992-5B00A57EB9DB}"/>
          </ac:spMkLst>
        </pc:spChg>
        <pc:spChg chg="add mod">
          <ac:chgData name="Rashi bhardwaj" userId="a8ce0118b50dbc10" providerId="LiveId" clId="{E5E46110-B667-4E78-A35A-CC3AFDB851F9}" dt="2024-11-21T10:06:12.389" v="10950" actId="1035"/>
          <ac:spMkLst>
            <pc:docMk/>
            <pc:sldMk cId="2538419880" sldId="266"/>
            <ac:spMk id="69" creationId="{2D9D846C-3405-3BE7-0969-570B06D7B0F6}"/>
          </ac:spMkLst>
        </pc:spChg>
        <pc:spChg chg="del">
          <ac:chgData name="Rashi bhardwaj" userId="a8ce0118b50dbc10" providerId="LiveId" clId="{E5E46110-B667-4E78-A35A-CC3AFDB851F9}" dt="2024-11-20T20:02:02.215" v="8789" actId="478"/>
          <ac:spMkLst>
            <pc:docMk/>
            <pc:sldMk cId="2538419880" sldId="266"/>
            <ac:spMk id="69" creationId="{4209ED89-09E0-D60B-0FF3-8AFE1C6FEAF9}"/>
          </ac:spMkLst>
        </pc:spChg>
        <pc:spChg chg="add mod">
          <ac:chgData name="Rashi bhardwaj" userId="a8ce0118b50dbc10" providerId="LiveId" clId="{E5E46110-B667-4E78-A35A-CC3AFDB851F9}" dt="2024-11-20T20:10:30.925" v="8881"/>
          <ac:spMkLst>
            <pc:docMk/>
            <pc:sldMk cId="2538419880" sldId="266"/>
            <ac:spMk id="71" creationId="{AC44D8DF-1777-6749-1134-B644615B3974}"/>
          </ac:spMkLst>
        </pc:spChg>
        <pc:spChg chg="add mod">
          <ac:chgData name="Rashi bhardwaj" userId="a8ce0118b50dbc10" providerId="LiveId" clId="{E5E46110-B667-4E78-A35A-CC3AFDB851F9}" dt="2024-11-20T20:18:21.042" v="8995" actId="1036"/>
          <ac:spMkLst>
            <pc:docMk/>
            <pc:sldMk cId="2538419880" sldId="266"/>
            <ac:spMk id="72" creationId="{8639D50B-6874-C967-ED27-35070577ED45}"/>
          </ac:spMkLst>
        </pc:spChg>
        <pc:spChg chg="add mod">
          <ac:chgData name="Rashi bhardwaj" userId="a8ce0118b50dbc10" providerId="LiveId" clId="{E5E46110-B667-4E78-A35A-CC3AFDB851F9}" dt="2024-11-20T20:13:55.038" v="8903"/>
          <ac:spMkLst>
            <pc:docMk/>
            <pc:sldMk cId="2538419880" sldId="266"/>
            <ac:spMk id="73" creationId="{D91BA8C9-B775-5EB8-BBB0-996A3D0C7DED}"/>
          </ac:spMkLst>
        </pc:spChg>
        <pc:spChg chg="add mod">
          <ac:chgData name="Rashi bhardwaj" userId="a8ce0118b50dbc10" providerId="LiveId" clId="{E5E46110-B667-4E78-A35A-CC3AFDB851F9}" dt="2024-11-20T20:18:43.318" v="9009" actId="1035"/>
          <ac:spMkLst>
            <pc:docMk/>
            <pc:sldMk cId="2538419880" sldId="266"/>
            <ac:spMk id="74" creationId="{BEAE0241-4DBB-7820-40C5-A30B297861E7}"/>
          </ac:spMkLst>
        </pc:spChg>
        <pc:spChg chg="add mod">
          <ac:chgData name="Rashi bhardwaj" userId="a8ce0118b50dbc10" providerId="LiveId" clId="{E5E46110-B667-4E78-A35A-CC3AFDB851F9}" dt="2024-11-20T20:25:17.732" v="9545" actId="20577"/>
          <ac:spMkLst>
            <pc:docMk/>
            <pc:sldMk cId="2538419880" sldId="266"/>
            <ac:spMk id="75" creationId="{73B54A54-EFE2-1D1D-9F99-BE0A84B7DB69}"/>
          </ac:spMkLst>
        </pc:spChg>
        <pc:spChg chg="add mod">
          <ac:chgData name="Rashi bhardwaj" userId="a8ce0118b50dbc10" providerId="LiveId" clId="{E5E46110-B667-4E78-A35A-CC3AFDB851F9}" dt="2024-11-20T20:13:55.038" v="8903"/>
          <ac:spMkLst>
            <pc:docMk/>
            <pc:sldMk cId="2538419880" sldId="266"/>
            <ac:spMk id="76" creationId="{7D84A8C8-54FD-BDAD-458F-C7AE1F819E3E}"/>
          </ac:spMkLst>
        </pc:spChg>
        <pc:spChg chg="add mod">
          <ac:chgData name="Rashi bhardwaj" userId="a8ce0118b50dbc10" providerId="LiveId" clId="{E5E46110-B667-4E78-A35A-CC3AFDB851F9}" dt="2024-11-20T20:18:01.659" v="8968" actId="1038"/>
          <ac:spMkLst>
            <pc:docMk/>
            <pc:sldMk cId="2538419880" sldId="266"/>
            <ac:spMk id="77" creationId="{DB025605-2C02-A831-7BCB-5939546305EC}"/>
          </ac:spMkLst>
        </pc:spChg>
        <pc:spChg chg="add mod">
          <ac:chgData name="Rashi bhardwaj" userId="a8ce0118b50dbc10" providerId="LiveId" clId="{E5E46110-B667-4E78-A35A-CC3AFDB851F9}" dt="2024-11-20T20:13:55.038" v="8903"/>
          <ac:spMkLst>
            <pc:docMk/>
            <pc:sldMk cId="2538419880" sldId="266"/>
            <ac:spMk id="78" creationId="{6942EFED-449E-8910-DA07-7FE9652145A3}"/>
          </ac:spMkLst>
        </pc:spChg>
        <pc:spChg chg="add mod">
          <ac:chgData name="Rashi bhardwaj" userId="a8ce0118b50dbc10" providerId="LiveId" clId="{E5E46110-B667-4E78-A35A-CC3AFDB851F9}" dt="2024-11-20T20:19:28.055" v="9012" actId="207"/>
          <ac:spMkLst>
            <pc:docMk/>
            <pc:sldMk cId="2538419880" sldId="266"/>
            <ac:spMk id="79" creationId="{91D241B7-BB1C-8B9B-DFF3-7DBD407641F2}"/>
          </ac:spMkLst>
        </pc:spChg>
        <pc:spChg chg="add mod">
          <ac:chgData name="Rashi bhardwaj" userId="a8ce0118b50dbc10" providerId="LiveId" clId="{E5E46110-B667-4E78-A35A-CC3AFDB851F9}" dt="2024-11-20T20:18:55.576" v="9010" actId="207"/>
          <ac:spMkLst>
            <pc:docMk/>
            <pc:sldMk cId="2538419880" sldId="266"/>
            <ac:spMk id="80" creationId="{415A2C05-9C89-DB95-051A-B85C347A66F5}"/>
          </ac:spMkLst>
        </pc:spChg>
        <pc:spChg chg="add mod">
          <ac:chgData name="Rashi bhardwaj" userId="a8ce0118b50dbc10" providerId="LiveId" clId="{E5E46110-B667-4E78-A35A-CC3AFDB851F9}" dt="2024-11-20T20:13:55.038" v="8903"/>
          <ac:spMkLst>
            <pc:docMk/>
            <pc:sldMk cId="2538419880" sldId="266"/>
            <ac:spMk id="81" creationId="{6513B898-A922-4446-6103-9140445A39F5}"/>
          </ac:spMkLst>
        </pc:spChg>
        <pc:spChg chg="add mod">
          <ac:chgData name="Rashi bhardwaj" userId="a8ce0118b50dbc10" providerId="LiveId" clId="{E5E46110-B667-4E78-A35A-CC3AFDB851F9}" dt="2024-11-21T10:06:20.346" v="10952" actId="1035"/>
          <ac:spMkLst>
            <pc:docMk/>
            <pc:sldMk cId="2538419880" sldId="266"/>
            <ac:spMk id="82" creationId="{B595C882-2E57-7C82-8F98-BA7C572D9E48}"/>
          </ac:spMkLst>
        </pc:spChg>
        <pc:spChg chg="del">
          <ac:chgData name="Rashi bhardwaj" userId="a8ce0118b50dbc10" providerId="LiveId" clId="{E5E46110-B667-4E78-A35A-CC3AFDB851F9}" dt="2024-11-20T20:02:18.204" v="8792" actId="478"/>
          <ac:spMkLst>
            <pc:docMk/>
            <pc:sldMk cId="2538419880" sldId="266"/>
            <ac:spMk id="82" creationId="{C7F75225-0A42-4783-B192-BE092CAC824C}"/>
          </ac:spMkLst>
        </pc:spChg>
        <pc:spChg chg="add mod">
          <ac:chgData name="Rashi bhardwaj" userId="a8ce0118b50dbc10" providerId="LiveId" clId="{E5E46110-B667-4E78-A35A-CC3AFDB851F9}" dt="2024-11-20T20:14:43.684" v="8908" actId="1076"/>
          <ac:spMkLst>
            <pc:docMk/>
            <pc:sldMk cId="2538419880" sldId="266"/>
            <ac:spMk id="83" creationId="{4CFDF4C5-D688-A463-8AC6-8F12C3EEEF5C}"/>
          </ac:spMkLst>
        </pc:spChg>
        <pc:spChg chg="add mod">
          <ac:chgData name="Rashi bhardwaj" userId="a8ce0118b50dbc10" providerId="LiveId" clId="{E5E46110-B667-4E78-A35A-CC3AFDB851F9}" dt="2024-11-20T20:13:55.038" v="8903"/>
          <ac:spMkLst>
            <pc:docMk/>
            <pc:sldMk cId="2538419880" sldId="266"/>
            <ac:spMk id="84" creationId="{2F8B9C09-7D9C-F1FE-509F-41C9F1CB742A}"/>
          </ac:spMkLst>
        </pc:spChg>
        <pc:spChg chg="add mod">
          <ac:chgData name="Rashi bhardwaj" userId="a8ce0118b50dbc10" providerId="LiveId" clId="{E5E46110-B667-4E78-A35A-CC3AFDB851F9}" dt="2024-11-20T20:13:55.038" v="8903"/>
          <ac:spMkLst>
            <pc:docMk/>
            <pc:sldMk cId="2538419880" sldId="266"/>
            <ac:spMk id="87" creationId="{789ECB6D-CC9C-5F08-1955-1B7A3EB2EEA1}"/>
          </ac:spMkLst>
        </pc:spChg>
        <pc:spChg chg="add mod">
          <ac:chgData name="Rashi bhardwaj" userId="a8ce0118b50dbc10" providerId="LiveId" clId="{E5E46110-B667-4E78-A35A-CC3AFDB851F9}" dt="2024-11-21T10:03:08.209" v="10909" actId="1036"/>
          <ac:spMkLst>
            <pc:docMk/>
            <pc:sldMk cId="2538419880" sldId="266"/>
            <ac:spMk id="94" creationId="{211B1370-12FD-DA98-EB1E-83BAF0AF6791}"/>
          </ac:spMkLst>
        </pc:spChg>
        <pc:spChg chg="add mod">
          <ac:chgData name="Rashi bhardwaj" userId="a8ce0118b50dbc10" providerId="LiveId" clId="{E5E46110-B667-4E78-A35A-CC3AFDB851F9}" dt="2024-11-21T10:03:14.693" v="10916" actId="1036"/>
          <ac:spMkLst>
            <pc:docMk/>
            <pc:sldMk cId="2538419880" sldId="266"/>
            <ac:spMk id="96" creationId="{55067931-E5FF-59F4-DC41-B25495F47703}"/>
          </ac:spMkLst>
        </pc:spChg>
        <pc:spChg chg="add mod">
          <ac:chgData name="Rashi bhardwaj" userId="a8ce0118b50dbc10" providerId="LiveId" clId="{E5E46110-B667-4E78-A35A-CC3AFDB851F9}" dt="2024-11-21T09:59:04.593" v="10724" actId="1037"/>
          <ac:spMkLst>
            <pc:docMk/>
            <pc:sldMk cId="2538419880" sldId="266"/>
            <ac:spMk id="101" creationId="{23923DD2-376F-27F4-556B-BBA5C7539189}"/>
          </ac:spMkLst>
        </pc:spChg>
        <pc:spChg chg="add mod">
          <ac:chgData name="Rashi bhardwaj" userId="a8ce0118b50dbc10" providerId="LiveId" clId="{E5E46110-B667-4E78-A35A-CC3AFDB851F9}" dt="2024-11-21T09:59:12.907" v="10744" actId="1037"/>
          <ac:spMkLst>
            <pc:docMk/>
            <pc:sldMk cId="2538419880" sldId="266"/>
            <ac:spMk id="102" creationId="{1A7A699E-2B63-4700-05DC-1BB3AEC24F5D}"/>
          </ac:spMkLst>
        </pc:spChg>
        <pc:spChg chg="add mod">
          <ac:chgData name="Rashi bhardwaj" userId="a8ce0118b50dbc10" providerId="LiveId" clId="{E5E46110-B667-4E78-A35A-CC3AFDB851F9}" dt="2024-11-21T10:05:41.837" v="10945" actId="20577"/>
          <ac:spMkLst>
            <pc:docMk/>
            <pc:sldMk cId="2538419880" sldId="266"/>
            <ac:spMk id="105" creationId="{6B41C768-F9D8-E16B-37A6-B158069EE028}"/>
          </ac:spMkLst>
        </pc:spChg>
        <pc:spChg chg="mod">
          <ac:chgData name="Rashi bhardwaj" userId="a8ce0118b50dbc10" providerId="LiveId" clId="{E5E46110-B667-4E78-A35A-CC3AFDB851F9}" dt="2024-11-21T09:21:51.614" v="9976" actId="1037"/>
          <ac:spMkLst>
            <pc:docMk/>
            <pc:sldMk cId="2538419880" sldId="266"/>
            <ac:spMk id="107" creationId="{3E835EA0-BC31-4015-B4D1-DEDAAB1A73B2}"/>
          </ac:spMkLst>
        </pc:spChg>
        <pc:spChg chg="add mod">
          <ac:chgData name="Rashi bhardwaj" userId="a8ce0118b50dbc10" providerId="LiveId" clId="{E5E46110-B667-4E78-A35A-CC3AFDB851F9}" dt="2024-11-21T10:05:19.783" v="10941" actId="1076"/>
          <ac:spMkLst>
            <pc:docMk/>
            <pc:sldMk cId="2538419880" sldId="266"/>
            <ac:spMk id="108" creationId="{3DF3E6A5-757E-5912-2A68-B7E0C31EC961}"/>
          </ac:spMkLst>
        </pc:spChg>
        <pc:spChg chg="mod">
          <ac:chgData name="Rashi bhardwaj" userId="a8ce0118b50dbc10" providerId="LiveId" clId="{E5E46110-B667-4E78-A35A-CC3AFDB851F9}" dt="2024-11-20T19:21:05.327" v="7399" actId="207"/>
          <ac:spMkLst>
            <pc:docMk/>
            <pc:sldMk cId="2538419880" sldId="266"/>
            <ac:spMk id="145" creationId="{4FD1B8EF-A16B-4405-A241-BEEF80D3F533}"/>
          </ac:spMkLst>
        </pc:spChg>
        <pc:spChg chg="del">
          <ac:chgData name="Rashi bhardwaj" userId="a8ce0118b50dbc10" providerId="LiveId" clId="{E5E46110-B667-4E78-A35A-CC3AFDB851F9}" dt="2024-11-20T20:02:03.804" v="8790" actId="478"/>
          <ac:spMkLst>
            <pc:docMk/>
            <pc:sldMk cId="2538419880" sldId="266"/>
            <ac:spMk id="161" creationId="{698E5167-1AB3-43B8-9DA1-7C18B34EE5F9}"/>
          </ac:spMkLst>
        </pc:spChg>
        <pc:spChg chg="mod">
          <ac:chgData name="Rashi bhardwaj" userId="a8ce0118b50dbc10" providerId="LiveId" clId="{E5E46110-B667-4E78-A35A-CC3AFDB851F9}" dt="2024-11-19T17:45:10.896" v="144" actId="313"/>
          <ac:spMkLst>
            <pc:docMk/>
            <pc:sldMk cId="2538419880" sldId="266"/>
            <ac:spMk id="1059" creationId="{F4D07035-3199-E4D7-B263-75C39F514213}"/>
          </ac:spMkLst>
        </pc:spChg>
        <pc:spChg chg="mod">
          <ac:chgData name="Rashi bhardwaj" userId="a8ce0118b50dbc10" providerId="LiveId" clId="{E5E46110-B667-4E78-A35A-CC3AFDB851F9}" dt="2024-11-21T09:21:25.402" v="9966" actId="1076"/>
          <ac:spMkLst>
            <pc:docMk/>
            <pc:sldMk cId="2538419880" sldId="266"/>
            <ac:spMk id="1064" creationId="{AB1852B5-A841-08D0-4A13-6AD3CD92C872}"/>
          </ac:spMkLst>
        </pc:spChg>
        <pc:spChg chg="del mod ord">
          <ac:chgData name="Rashi bhardwaj" userId="a8ce0118b50dbc10" providerId="LiveId" clId="{E5E46110-B667-4E78-A35A-CC3AFDB851F9}" dt="2024-11-21T09:18:45.582" v="9828" actId="478"/>
          <ac:spMkLst>
            <pc:docMk/>
            <pc:sldMk cId="2538419880" sldId="266"/>
            <ac:spMk id="1191" creationId="{0CA751C6-D1A7-1037-0FF8-B18E9FB137AA}"/>
          </ac:spMkLst>
        </pc:spChg>
        <pc:spChg chg="del">
          <ac:chgData name="Rashi bhardwaj" userId="a8ce0118b50dbc10" providerId="LiveId" clId="{E5E46110-B667-4E78-A35A-CC3AFDB851F9}" dt="2024-11-20T18:06:32.028" v="6144" actId="478"/>
          <ac:spMkLst>
            <pc:docMk/>
            <pc:sldMk cId="2538419880" sldId="266"/>
            <ac:spMk id="1194" creationId="{452561D9-3352-E08D-89AA-CFA8B9E79F1E}"/>
          </ac:spMkLst>
        </pc:spChg>
        <pc:spChg chg="del mod">
          <ac:chgData name="Rashi bhardwaj" userId="a8ce0118b50dbc10" providerId="LiveId" clId="{E5E46110-B667-4E78-A35A-CC3AFDB851F9}" dt="2024-11-20T18:06:28.409" v="6143" actId="478"/>
          <ac:spMkLst>
            <pc:docMk/>
            <pc:sldMk cId="2538419880" sldId="266"/>
            <ac:spMk id="1195" creationId="{24AD679C-51E2-3C6B-B6AE-A2FDD03DFD35}"/>
          </ac:spMkLst>
        </pc:spChg>
        <pc:graphicFrameChg chg="add mod">
          <ac:chgData name="Rashi bhardwaj" userId="a8ce0118b50dbc10" providerId="LiveId" clId="{E5E46110-B667-4E78-A35A-CC3AFDB851F9}" dt="2024-11-21T10:04:50.236" v="10932"/>
          <ac:graphicFrameMkLst>
            <pc:docMk/>
            <pc:sldMk cId="2538419880" sldId="266"/>
            <ac:graphicFrameMk id="53" creationId="{7008C349-F3DA-FF1D-4520-9B7173CE8B98}"/>
          </ac:graphicFrameMkLst>
        </pc:graphicFrameChg>
        <pc:graphicFrameChg chg="del">
          <ac:chgData name="Rashi bhardwaj" userId="a8ce0118b50dbc10" providerId="LiveId" clId="{E5E46110-B667-4E78-A35A-CC3AFDB851F9}" dt="2024-11-21T09:25:59.715" v="10023" actId="478"/>
          <ac:graphicFrameMkLst>
            <pc:docMk/>
            <pc:sldMk cId="2538419880" sldId="266"/>
            <ac:graphicFrameMk id="97" creationId="{C55C451C-B0A7-ED4E-2209-01124F68CD37}"/>
          </ac:graphicFrameMkLst>
        </pc:graphicFrameChg>
        <pc:graphicFrameChg chg="del">
          <ac:chgData name="Rashi bhardwaj" userId="a8ce0118b50dbc10" providerId="LiveId" clId="{E5E46110-B667-4E78-A35A-CC3AFDB851F9}" dt="2024-11-21T09:28:15.585" v="10027" actId="478"/>
          <ac:graphicFrameMkLst>
            <pc:docMk/>
            <pc:sldMk cId="2538419880" sldId="266"/>
            <ac:graphicFrameMk id="103" creationId="{5C84AC72-9964-F6AE-A88A-03F227A00580}"/>
          </ac:graphicFrameMkLst>
        </pc:graphicFrameChg>
        <pc:picChg chg="del mod">
          <ac:chgData name="Rashi bhardwaj" userId="a8ce0118b50dbc10" providerId="LiveId" clId="{E5E46110-B667-4E78-A35A-CC3AFDB851F9}" dt="2024-11-21T10:05:46.791" v="10946" actId="478"/>
          <ac:picMkLst>
            <pc:docMk/>
            <pc:sldMk cId="2538419880" sldId="266"/>
            <ac:picMk id="3" creationId="{053D680D-4BA0-0A57-98F0-929C7BCBB5A3}"/>
          </ac:picMkLst>
        </pc:picChg>
        <pc:cxnChg chg="del">
          <ac:chgData name="Rashi bhardwaj" userId="a8ce0118b50dbc10" providerId="LiveId" clId="{E5E46110-B667-4E78-A35A-CC3AFDB851F9}" dt="2024-11-21T09:20:10.905" v="9929" actId="478"/>
          <ac:cxnSpMkLst>
            <pc:docMk/>
            <pc:sldMk cId="2538419880" sldId="266"/>
            <ac:cxnSpMk id="21" creationId="{8EEE9241-87D0-901E-312E-E5D66F67EFD5}"/>
          </ac:cxnSpMkLst>
        </pc:cxnChg>
        <pc:cxnChg chg="add mod">
          <ac:chgData name="Rashi bhardwaj" userId="a8ce0118b50dbc10" providerId="LiveId" clId="{E5E46110-B667-4E78-A35A-CC3AFDB851F9}" dt="2024-11-21T09:19:10.454" v="9846" actId="14100"/>
          <ac:cxnSpMkLst>
            <pc:docMk/>
            <pc:sldMk cId="2538419880" sldId="266"/>
            <ac:cxnSpMk id="22" creationId="{17A61768-78F7-ACA7-4499-319AC6910262}"/>
          </ac:cxnSpMkLst>
        </pc:cxnChg>
        <pc:cxnChg chg="del">
          <ac:chgData name="Rashi bhardwaj" userId="a8ce0118b50dbc10" providerId="LiveId" clId="{E5E46110-B667-4E78-A35A-CC3AFDB851F9}" dt="2024-11-21T09:20:08.020" v="9928" actId="478"/>
          <ac:cxnSpMkLst>
            <pc:docMk/>
            <pc:sldMk cId="2538419880" sldId="266"/>
            <ac:cxnSpMk id="25" creationId="{99F040DF-2D09-6B8A-EDB6-F5E8669FAA0B}"/>
          </ac:cxnSpMkLst>
        </pc:cxnChg>
        <pc:cxnChg chg="add mod">
          <ac:chgData name="Rashi bhardwaj" userId="a8ce0118b50dbc10" providerId="LiveId" clId="{E5E46110-B667-4E78-A35A-CC3AFDB851F9}" dt="2024-11-21T09:19:36.264" v="9925" actId="1038"/>
          <ac:cxnSpMkLst>
            <pc:docMk/>
            <pc:sldMk cId="2538419880" sldId="266"/>
            <ac:cxnSpMk id="26" creationId="{D87DEA83-EF8F-E2B6-EC8A-BC32EE541541}"/>
          </ac:cxnSpMkLst>
        </pc:cxnChg>
        <pc:cxnChg chg="add mod">
          <ac:chgData name="Rashi bhardwaj" userId="a8ce0118b50dbc10" providerId="LiveId" clId="{E5E46110-B667-4E78-A35A-CC3AFDB851F9}" dt="2024-11-21T09:20:34.334" v="9959" actId="1035"/>
          <ac:cxnSpMkLst>
            <pc:docMk/>
            <pc:sldMk cId="2538419880" sldId="266"/>
            <ac:cxnSpMk id="33" creationId="{1309E192-3267-37DA-AECD-DA8EC97834FC}"/>
          </ac:cxnSpMkLst>
        </pc:cxnChg>
        <pc:cxnChg chg="add del mod ord">
          <ac:chgData name="Rashi bhardwaj" userId="a8ce0118b50dbc10" providerId="LiveId" clId="{E5E46110-B667-4E78-A35A-CC3AFDB851F9}" dt="2024-11-20T20:13:53.841" v="8902" actId="478"/>
          <ac:cxnSpMkLst>
            <pc:docMk/>
            <pc:sldMk cId="2538419880" sldId="266"/>
            <ac:cxnSpMk id="53" creationId="{5B5FCC3F-E8D2-9179-A14B-CB9B6216A7B7}"/>
          </ac:cxnSpMkLst>
        </pc:cxnChg>
        <pc:cxnChg chg="add mod">
          <ac:chgData name="Rashi bhardwaj" userId="a8ce0118b50dbc10" providerId="LiveId" clId="{E5E46110-B667-4E78-A35A-CC3AFDB851F9}" dt="2024-11-21T09:47:00.610" v="10338" actId="1037"/>
          <ac:cxnSpMkLst>
            <pc:docMk/>
            <pc:sldMk cId="2538419880" sldId="266"/>
            <ac:cxnSpMk id="54" creationId="{4869FDED-C463-E37C-404D-509E37DE07D7}"/>
          </ac:cxnSpMkLst>
        </pc:cxnChg>
        <pc:cxnChg chg="add mod ord">
          <ac:chgData name="Rashi bhardwaj" userId="a8ce0118b50dbc10" providerId="LiveId" clId="{E5E46110-B667-4E78-A35A-CC3AFDB851F9}" dt="2024-11-20T20:18:29.197" v="8996" actId="166"/>
          <ac:cxnSpMkLst>
            <pc:docMk/>
            <pc:sldMk cId="2538419880" sldId="266"/>
            <ac:cxnSpMk id="90" creationId="{8E6F7403-7215-11A7-13C8-2F28E52C604C}"/>
          </ac:cxnSpMkLst>
        </pc:cxnChg>
        <pc:cxnChg chg="add mod">
          <ac:chgData name="Rashi bhardwaj" userId="a8ce0118b50dbc10" providerId="LiveId" clId="{E5E46110-B667-4E78-A35A-CC3AFDB851F9}" dt="2024-11-21T10:10:22.984" v="10982" actId="14100"/>
          <ac:cxnSpMkLst>
            <pc:docMk/>
            <pc:sldMk cId="2538419880" sldId="266"/>
            <ac:cxnSpMk id="109" creationId="{A993D801-DC9D-5B07-E4E6-2B03D56650EC}"/>
          </ac:cxnSpMkLst>
        </pc:cxnChg>
        <pc:cxnChg chg="add mod ord">
          <ac:chgData name="Rashi bhardwaj" userId="a8ce0118b50dbc10" providerId="LiveId" clId="{E5E46110-B667-4E78-A35A-CC3AFDB851F9}" dt="2024-11-21T10:12:21.717" v="11124" actId="166"/>
          <ac:cxnSpMkLst>
            <pc:docMk/>
            <pc:sldMk cId="2538419880" sldId="266"/>
            <ac:cxnSpMk id="110" creationId="{2E303607-F65F-AC1E-9FE1-CABC6D30E18B}"/>
          </ac:cxnSpMkLst>
        </pc:cxnChg>
        <pc:cxnChg chg="add mod">
          <ac:chgData name="Rashi bhardwaj" userId="a8ce0118b50dbc10" providerId="LiveId" clId="{E5E46110-B667-4E78-A35A-CC3AFDB851F9}" dt="2024-11-21T10:15:37.662" v="11155"/>
          <ac:cxnSpMkLst>
            <pc:docMk/>
            <pc:sldMk cId="2538419880" sldId="266"/>
            <ac:cxnSpMk id="115" creationId="{0396D5F5-7B80-A4AA-7F9D-FAB29CB0E8AD}"/>
          </ac:cxnSpMkLst>
        </pc:cxnChg>
      </pc:sldChg>
      <pc:sldChg chg="addSp delSp modSp mod ord">
        <pc:chgData name="Rashi bhardwaj" userId="a8ce0118b50dbc10" providerId="LiveId" clId="{E5E46110-B667-4E78-A35A-CC3AFDB851F9}" dt="2024-11-21T10:15:24.277" v="11154" actId="14100"/>
        <pc:sldMkLst>
          <pc:docMk/>
          <pc:sldMk cId="2905911514" sldId="271"/>
        </pc:sldMkLst>
        <pc:spChg chg="mod">
          <ac:chgData name="Rashi bhardwaj" userId="a8ce0118b50dbc10" providerId="LiveId" clId="{E5E46110-B667-4E78-A35A-CC3AFDB851F9}" dt="2024-11-20T20:01:07.774" v="8783" actId="113"/>
          <ac:spMkLst>
            <pc:docMk/>
            <pc:sldMk cId="2905911514" sldId="271"/>
            <ac:spMk id="8" creationId="{258190DB-454F-4269-9F4F-335DE576171D}"/>
          </ac:spMkLst>
        </pc:spChg>
        <pc:spChg chg="add del mod">
          <ac:chgData name="Rashi bhardwaj" userId="a8ce0118b50dbc10" providerId="LiveId" clId="{E5E46110-B667-4E78-A35A-CC3AFDB851F9}" dt="2024-11-20T17:58:25.495" v="6073" actId="478"/>
          <ac:spMkLst>
            <pc:docMk/>
            <pc:sldMk cId="2905911514" sldId="271"/>
            <ac:spMk id="18" creationId="{9F3455C1-8FAE-4DD0-1A44-06A162843D00}"/>
          </ac:spMkLst>
        </pc:spChg>
        <pc:spChg chg="add mod">
          <ac:chgData name="Rashi bhardwaj" userId="a8ce0118b50dbc10" providerId="LiveId" clId="{E5E46110-B667-4E78-A35A-CC3AFDB851F9}" dt="2024-11-20T18:11:30.471" v="6175" actId="1036"/>
          <ac:spMkLst>
            <pc:docMk/>
            <pc:sldMk cId="2905911514" sldId="271"/>
            <ac:spMk id="22" creationId="{44B40510-89EA-FAC2-BAED-F8D86346379B}"/>
          </ac:spMkLst>
        </pc:spChg>
        <pc:spChg chg="add mod">
          <ac:chgData name="Rashi bhardwaj" userId="a8ce0118b50dbc10" providerId="LiveId" clId="{E5E46110-B667-4E78-A35A-CC3AFDB851F9}" dt="2024-11-20T19:54:46.445" v="8584" actId="1038"/>
          <ac:spMkLst>
            <pc:docMk/>
            <pc:sldMk cId="2905911514" sldId="271"/>
            <ac:spMk id="23" creationId="{14AAA0A0-ECFC-64CB-60A5-87D47E63E7E9}"/>
          </ac:spMkLst>
        </pc:spChg>
        <pc:spChg chg="add mod">
          <ac:chgData name="Rashi bhardwaj" userId="a8ce0118b50dbc10" providerId="LiveId" clId="{E5E46110-B667-4E78-A35A-CC3AFDB851F9}" dt="2024-11-20T18:35:54.723" v="6345" actId="1076"/>
          <ac:spMkLst>
            <pc:docMk/>
            <pc:sldMk cId="2905911514" sldId="271"/>
            <ac:spMk id="24" creationId="{4010CFE9-8F8F-E8E5-518B-5D593CCFB098}"/>
          </ac:spMkLst>
        </pc:spChg>
        <pc:spChg chg="add mod">
          <ac:chgData name="Rashi bhardwaj" userId="a8ce0118b50dbc10" providerId="LiveId" clId="{E5E46110-B667-4E78-A35A-CC3AFDB851F9}" dt="2024-11-20T18:48:21.954" v="6503" actId="207"/>
          <ac:spMkLst>
            <pc:docMk/>
            <pc:sldMk cId="2905911514" sldId="271"/>
            <ac:spMk id="29" creationId="{7769E5AE-334B-307D-68D3-1A286CF2CBC5}"/>
          </ac:spMkLst>
        </pc:spChg>
        <pc:spChg chg="add del mod ord">
          <ac:chgData name="Rashi bhardwaj" userId="a8ce0118b50dbc10" providerId="LiveId" clId="{E5E46110-B667-4E78-A35A-CC3AFDB851F9}" dt="2024-11-20T18:51:41.606" v="6511" actId="478"/>
          <ac:spMkLst>
            <pc:docMk/>
            <pc:sldMk cId="2905911514" sldId="271"/>
            <ac:spMk id="37" creationId="{B798506E-0244-4D31-8C0A-568475C44371}"/>
          </ac:spMkLst>
        </pc:spChg>
        <pc:spChg chg="add mod">
          <ac:chgData name="Rashi bhardwaj" userId="a8ce0118b50dbc10" providerId="LiveId" clId="{E5E46110-B667-4E78-A35A-CC3AFDB851F9}" dt="2024-11-20T18:53:10.887" v="6610" actId="20577"/>
          <ac:spMkLst>
            <pc:docMk/>
            <pc:sldMk cId="2905911514" sldId="271"/>
            <ac:spMk id="38" creationId="{DD26DABA-BCFC-209F-BC6E-13DBFAF01ADB}"/>
          </ac:spMkLst>
        </pc:spChg>
        <pc:spChg chg="add mod">
          <ac:chgData name="Rashi bhardwaj" userId="a8ce0118b50dbc10" providerId="LiveId" clId="{E5E46110-B667-4E78-A35A-CC3AFDB851F9}" dt="2024-11-20T19:02:37.472" v="6867" actId="1038"/>
          <ac:spMkLst>
            <pc:docMk/>
            <pc:sldMk cId="2905911514" sldId="271"/>
            <ac:spMk id="39" creationId="{DF0D7003-5919-80C8-E1FE-AE4EFA461C25}"/>
          </ac:spMkLst>
        </pc:spChg>
        <pc:spChg chg="add mod">
          <ac:chgData name="Rashi bhardwaj" userId="a8ce0118b50dbc10" providerId="LiveId" clId="{E5E46110-B667-4E78-A35A-CC3AFDB851F9}" dt="2024-11-20T19:01:39.663" v="6673" actId="1076"/>
          <ac:spMkLst>
            <pc:docMk/>
            <pc:sldMk cId="2905911514" sldId="271"/>
            <ac:spMk id="40" creationId="{8F72633B-B202-DAA4-19FA-78937CCFCC5D}"/>
          </ac:spMkLst>
        </pc:spChg>
        <pc:spChg chg="add del mod">
          <ac:chgData name="Rashi bhardwaj" userId="a8ce0118b50dbc10" providerId="LiveId" clId="{E5E46110-B667-4E78-A35A-CC3AFDB851F9}" dt="2024-11-20T18:59:46.021" v="6665"/>
          <ac:spMkLst>
            <pc:docMk/>
            <pc:sldMk cId="2905911514" sldId="271"/>
            <ac:spMk id="41" creationId="{51F8B61B-066A-8EAB-2F2A-7AD5D834532B}"/>
          </ac:spMkLst>
        </pc:spChg>
        <pc:spChg chg="add mod">
          <ac:chgData name="Rashi bhardwaj" userId="a8ce0118b50dbc10" providerId="LiveId" clId="{E5E46110-B667-4E78-A35A-CC3AFDB851F9}" dt="2024-11-20T19:06:43.853" v="6952" actId="11"/>
          <ac:spMkLst>
            <pc:docMk/>
            <pc:sldMk cId="2905911514" sldId="271"/>
            <ac:spMk id="49" creationId="{4AE3120A-A986-63B7-45BE-DECB5E9EF890}"/>
          </ac:spMkLst>
        </pc:spChg>
        <pc:spChg chg="add mod">
          <ac:chgData name="Rashi bhardwaj" userId="a8ce0118b50dbc10" providerId="LiveId" clId="{E5E46110-B667-4E78-A35A-CC3AFDB851F9}" dt="2024-11-20T19:16:51.422" v="7190" actId="1038"/>
          <ac:spMkLst>
            <pc:docMk/>
            <pc:sldMk cId="2905911514" sldId="271"/>
            <ac:spMk id="51" creationId="{7A88F1E2-63F0-6512-F9F1-6C7FAD316E8D}"/>
          </ac:spMkLst>
        </pc:spChg>
        <pc:spChg chg="add del mod">
          <ac:chgData name="Rashi bhardwaj" userId="a8ce0118b50dbc10" providerId="LiveId" clId="{E5E46110-B667-4E78-A35A-CC3AFDB851F9}" dt="2024-11-20T19:08:41.741" v="7060"/>
          <ac:spMkLst>
            <pc:docMk/>
            <pc:sldMk cId="2905911514" sldId="271"/>
            <ac:spMk id="52" creationId="{EDBC1B1D-1F48-019E-1D92-A28D6619C33F}"/>
          </ac:spMkLst>
        </pc:spChg>
        <pc:spChg chg="add mod">
          <ac:chgData name="Rashi bhardwaj" userId="a8ce0118b50dbc10" providerId="LiveId" clId="{E5E46110-B667-4E78-A35A-CC3AFDB851F9}" dt="2024-11-20T19:36:42.311" v="7943" actId="11"/>
          <ac:spMkLst>
            <pc:docMk/>
            <pc:sldMk cId="2905911514" sldId="271"/>
            <ac:spMk id="63" creationId="{03974B3A-8604-EAC7-4F16-A3124FD425E7}"/>
          </ac:spMkLst>
        </pc:spChg>
        <pc:spChg chg="add mod">
          <ac:chgData name="Rashi bhardwaj" userId="a8ce0118b50dbc10" providerId="LiveId" clId="{E5E46110-B667-4E78-A35A-CC3AFDB851F9}" dt="2024-11-21T09:10:29.190" v="9715" actId="207"/>
          <ac:spMkLst>
            <pc:docMk/>
            <pc:sldMk cId="2905911514" sldId="271"/>
            <ac:spMk id="65" creationId="{B483D8F5-03FC-120A-E91B-D4F99F42F9AA}"/>
          </ac:spMkLst>
        </pc:spChg>
        <pc:spChg chg="add del mod">
          <ac:chgData name="Rashi bhardwaj" userId="a8ce0118b50dbc10" providerId="LiveId" clId="{E5E46110-B667-4E78-A35A-CC3AFDB851F9}" dt="2024-11-20T19:40:00.219" v="8132"/>
          <ac:spMkLst>
            <pc:docMk/>
            <pc:sldMk cId="2905911514" sldId="271"/>
            <ac:spMk id="66" creationId="{29F41735-9804-3CD5-FD9A-E2A0F8F09C52}"/>
          </ac:spMkLst>
        </pc:spChg>
        <pc:spChg chg="add mod">
          <ac:chgData name="Rashi bhardwaj" userId="a8ce0118b50dbc10" providerId="LiveId" clId="{E5E46110-B667-4E78-A35A-CC3AFDB851F9}" dt="2024-11-20T19:41:54.219" v="8231" actId="11"/>
          <ac:spMkLst>
            <pc:docMk/>
            <pc:sldMk cId="2905911514" sldId="271"/>
            <ac:spMk id="67" creationId="{6A875FEA-8514-8930-EADB-2F442BF6B1C1}"/>
          </ac:spMkLst>
        </pc:spChg>
        <pc:spChg chg="add mod">
          <ac:chgData name="Rashi bhardwaj" userId="a8ce0118b50dbc10" providerId="LiveId" clId="{E5E46110-B667-4E78-A35A-CC3AFDB851F9}" dt="2024-11-21T09:17:38.475" v="9823" actId="114"/>
          <ac:spMkLst>
            <pc:docMk/>
            <pc:sldMk cId="2905911514" sldId="271"/>
            <ac:spMk id="69" creationId="{FE63D47B-FAA3-8194-E952-F347761127B5}"/>
          </ac:spMkLst>
        </pc:spChg>
        <pc:spChg chg="add del mod">
          <ac:chgData name="Rashi bhardwaj" userId="a8ce0118b50dbc10" providerId="LiveId" clId="{E5E46110-B667-4E78-A35A-CC3AFDB851F9}" dt="2024-11-20T19:43:43.710" v="8330"/>
          <ac:spMkLst>
            <pc:docMk/>
            <pc:sldMk cId="2905911514" sldId="271"/>
            <ac:spMk id="70" creationId="{A48B147D-1A69-C3DA-72BD-54898FF8A090}"/>
          </ac:spMkLst>
        </pc:spChg>
        <pc:spChg chg="add mod">
          <ac:chgData name="Rashi bhardwaj" userId="a8ce0118b50dbc10" providerId="LiveId" clId="{E5E46110-B667-4E78-A35A-CC3AFDB851F9}" dt="2024-11-20T20:20:36.598" v="9167" actId="1035"/>
          <ac:spMkLst>
            <pc:docMk/>
            <pc:sldMk cId="2905911514" sldId="271"/>
            <ac:spMk id="79" creationId="{2435B230-6B2F-5735-4571-E8CBC7B572DA}"/>
          </ac:spMkLst>
        </pc:spChg>
        <pc:spChg chg="add mod">
          <ac:chgData name="Rashi bhardwaj" userId="a8ce0118b50dbc10" providerId="LiveId" clId="{E5E46110-B667-4E78-A35A-CC3AFDB851F9}" dt="2024-11-20T20:25:27.715" v="9547" actId="20577"/>
          <ac:spMkLst>
            <pc:docMk/>
            <pc:sldMk cId="2905911514" sldId="271"/>
            <ac:spMk id="80" creationId="{A3616311-7239-317F-419D-2362B73EEB22}"/>
          </ac:spMkLst>
        </pc:spChg>
        <pc:spChg chg="add mod">
          <ac:chgData name="Rashi bhardwaj" userId="a8ce0118b50dbc10" providerId="LiveId" clId="{E5E46110-B667-4E78-A35A-CC3AFDB851F9}" dt="2024-11-20T20:04:33.575" v="8800"/>
          <ac:spMkLst>
            <pc:docMk/>
            <pc:sldMk cId="2905911514" sldId="271"/>
            <ac:spMk id="81" creationId="{5653AB0E-DE98-4E6C-C954-A42FD9270763}"/>
          </ac:spMkLst>
        </pc:spChg>
        <pc:spChg chg="add mod">
          <ac:chgData name="Rashi bhardwaj" userId="a8ce0118b50dbc10" providerId="LiveId" clId="{E5E46110-B667-4E78-A35A-CC3AFDB851F9}" dt="2024-11-20T20:20:18.776" v="9164" actId="1037"/>
          <ac:spMkLst>
            <pc:docMk/>
            <pc:sldMk cId="2905911514" sldId="271"/>
            <ac:spMk id="82" creationId="{85E09DF5-5809-83BB-9AF5-B65813F94919}"/>
          </ac:spMkLst>
        </pc:spChg>
        <pc:spChg chg="add mod">
          <ac:chgData name="Rashi bhardwaj" userId="a8ce0118b50dbc10" providerId="LiveId" clId="{E5E46110-B667-4E78-A35A-CC3AFDB851F9}" dt="2024-11-20T20:04:33.575" v="8800"/>
          <ac:spMkLst>
            <pc:docMk/>
            <pc:sldMk cId="2905911514" sldId="271"/>
            <ac:spMk id="88" creationId="{93F8EFEB-3433-9A72-1925-6E3EE92F2C59}"/>
          </ac:spMkLst>
        </pc:spChg>
        <pc:spChg chg="add mod">
          <ac:chgData name="Rashi bhardwaj" userId="a8ce0118b50dbc10" providerId="LiveId" clId="{E5E46110-B667-4E78-A35A-CC3AFDB851F9}" dt="2024-11-20T20:04:33.575" v="8800"/>
          <ac:spMkLst>
            <pc:docMk/>
            <pc:sldMk cId="2905911514" sldId="271"/>
            <ac:spMk id="89" creationId="{C4484D7E-2B85-C881-92BC-8F351551A802}"/>
          </ac:spMkLst>
        </pc:spChg>
        <pc:spChg chg="add mod">
          <ac:chgData name="Rashi bhardwaj" userId="a8ce0118b50dbc10" providerId="LiveId" clId="{E5E46110-B667-4E78-A35A-CC3AFDB851F9}" dt="2024-11-20T20:20:33.308" v="9166" actId="207"/>
          <ac:spMkLst>
            <pc:docMk/>
            <pc:sldMk cId="2905911514" sldId="271"/>
            <ac:spMk id="90" creationId="{99F704BF-7D55-6BFC-B4E0-C96048145C74}"/>
          </ac:spMkLst>
        </pc:spChg>
        <pc:spChg chg="add mod">
          <ac:chgData name="Rashi bhardwaj" userId="a8ce0118b50dbc10" providerId="LiveId" clId="{E5E46110-B667-4E78-A35A-CC3AFDB851F9}" dt="2024-11-20T20:20:25.964" v="9165" actId="207"/>
          <ac:spMkLst>
            <pc:docMk/>
            <pc:sldMk cId="2905911514" sldId="271"/>
            <ac:spMk id="91" creationId="{EC5536CB-9C36-2473-3194-0FCE5A46EB17}"/>
          </ac:spMkLst>
        </pc:spChg>
        <pc:spChg chg="add mod">
          <ac:chgData name="Rashi bhardwaj" userId="a8ce0118b50dbc10" providerId="LiveId" clId="{E5E46110-B667-4E78-A35A-CC3AFDB851F9}" dt="2024-11-20T20:04:33.575" v="8800"/>
          <ac:spMkLst>
            <pc:docMk/>
            <pc:sldMk cId="2905911514" sldId="271"/>
            <ac:spMk id="92" creationId="{48F4225B-82E7-A24B-0916-A49ABCFF716A}"/>
          </ac:spMkLst>
        </pc:spChg>
        <pc:spChg chg="add mod">
          <ac:chgData name="Rashi bhardwaj" userId="a8ce0118b50dbc10" providerId="LiveId" clId="{E5E46110-B667-4E78-A35A-CC3AFDB851F9}" dt="2024-11-20T20:04:33.575" v="8800"/>
          <ac:spMkLst>
            <pc:docMk/>
            <pc:sldMk cId="2905911514" sldId="271"/>
            <ac:spMk id="93" creationId="{E3BED791-4FEE-AEAB-D24A-140E6D7D6B3E}"/>
          </ac:spMkLst>
        </pc:spChg>
        <pc:spChg chg="add mod">
          <ac:chgData name="Rashi bhardwaj" userId="a8ce0118b50dbc10" providerId="LiveId" clId="{E5E46110-B667-4E78-A35A-CC3AFDB851F9}" dt="2024-11-20T20:04:33.575" v="8800"/>
          <ac:spMkLst>
            <pc:docMk/>
            <pc:sldMk cId="2905911514" sldId="271"/>
            <ac:spMk id="94" creationId="{4F8ECE25-5450-6038-F63E-B06C3CCFB59E}"/>
          </ac:spMkLst>
        </pc:spChg>
        <pc:grpChg chg="del">
          <ac:chgData name="Rashi bhardwaj" userId="a8ce0118b50dbc10" providerId="LiveId" clId="{E5E46110-B667-4E78-A35A-CC3AFDB851F9}" dt="2024-11-20T17:51:40.374" v="5677" actId="478"/>
          <ac:grpSpMkLst>
            <pc:docMk/>
            <pc:sldMk cId="2905911514" sldId="271"/>
            <ac:grpSpMk id="10" creationId="{2B787215-4B86-4EED-A9E0-CFE5DB38328E}"/>
          </ac:grpSpMkLst>
        </pc:grpChg>
        <pc:grpChg chg="del">
          <ac:chgData name="Rashi bhardwaj" userId="a8ce0118b50dbc10" providerId="LiveId" clId="{E5E46110-B667-4E78-A35A-CC3AFDB851F9}" dt="2024-11-20T17:42:27.580" v="5670" actId="478"/>
          <ac:grpSpMkLst>
            <pc:docMk/>
            <pc:sldMk cId="2905911514" sldId="271"/>
            <ac:grpSpMk id="83" creationId="{84B47655-2282-4807-ADAA-CEC4D3075907}"/>
          </ac:grpSpMkLst>
        </pc:grpChg>
        <pc:picChg chg="add mod">
          <ac:chgData name="Rashi bhardwaj" userId="a8ce0118b50dbc10" providerId="LiveId" clId="{E5E46110-B667-4E78-A35A-CC3AFDB851F9}" dt="2024-11-20T18:09:59.149" v="6162" actId="14100"/>
          <ac:picMkLst>
            <pc:docMk/>
            <pc:sldMk cId="2905911514" sldId="271"/>
            <ac:picMk id="3" creationId="{FC999DFA-0275-711D-8B87-5AA522920A99}"/>
          </ac:picMkLst>
        </pc:picChg>
        <pc:picChg chg="add mod">
          <ac:chgData name="Rashi bhardwaj" userId="a8ce0118b50dbc10" providerId="LiveId" clId="{E5E46110-B667-4E78-A35A-CC3AFDB851F9}" dt="2024-11-21T09:18:24.861" v="9827" actId="1076"/>
          <ac:picMkLst>
            <pc:docMk/>
            <pc:sldMk cId="2905911514" sldId="271"/>
            <ac:picMk id="6" creationId="{10920831-764E-E6B8-DB87-A9BC993D6B2B}"/>
          </ac:picMkLst>
        </pc:picChg>
        <pc:picChg chg="add del mod">
          <ac:chgData name="Rashi bhardwaj" userId="a8ce0118b50dbc10" providerId="LiveId" clId="{E5E46110-B667-4E78-A35A-CC3AFDB851F9}" dt="2024-11-20T18:09:18.016" v="6159" actId="478"/>
          <ac:picMkLst>
            <pc:docMk/>
            <pc:sldMk cId="2905911514" sldId="271"/>
            <ac:picMk id="6" creationId="{64D563AB-FD44-51B9-898A-AECE1C54E7E6}"/>
          </ac:picMkLst>
        </pc:picChg>
        <pc:picChg chg="add mod">
          <ac:chgData name="Rashi bhardwaj" userId="a8ce0118b50dbc10" providerId="LiveId" clId="{E5E46110-B667-4E78-A35A-CC3AFDB851F9}" dt="2024-11-20T18:09:59.149" v="6162" actId="14100"/>
          <ac:picMkLst>
            <pc:docMk/>
            <pc:sldMk cId="2905911514" sldId="271"/>
            <ac:picMk id="15" creationId="{16030E22-8AE6-1C93-686B-2B89D68443CF}"/>
          </ac:picMkLst>
        </pc:picChg>
        <pc:picChg chg="add mod">
          <ac:chgData name="Rashi bhardwaj" userId="a8ce0118b50dbc10" providerId="LiveId" clId="{E5E46110-B667-4E78-A35A-CC3AFDB851F9}" dt="2024-11-20T18:09:59.149" v="6162" actId="14100"/>
          <ac:picMkLst>
            <pc:docMk/>
            <pc:sldMk cId="2905911514" sldId="271"/>
            <ac:picMk id="17" creationId="{427A1061-157C-3FE9-9B11-25F4A9056E97}"/>
          </ac:picMkLst>
        </pc:picChg>
        <pc:picChg chg="add mod ord">
          <ac:chgData name="Rashi bhardwaj" userId="a8ce0118b50dbc10" providerId="LiveId" clId="{E5E46110-B667-4E78-A35A-CC3AFDB851F9}" dt="2024-11-20T18:09:59.149" v="6162" actId="14100"/>
          <ac:picMkLst>
            <pc:docMk/>
            <pc:sldMk cId="2905911514" sldId="271"/>
            <ac:picMk id="20" creationId="{CB0365C0-BF59-4B53-D36E-3A5614CC09C7}"/>
          </ac:picMkLst>
        </pc:picChg>
        <pc:picChg chg="add mod">
          <ac:chgData name="Rashi bhardwaj" userId="a8ce0118b50dbc10" providerId="LiveId" clId="{E5E46110-B667-4E78-A35A-CC3AFDB851F9}" dt="2024-11-20T18:46:22.004" v="6491" actId="1035"/>
          <ac:picMkLst>
            <pc:docMk/>
            <pc:sldMk cId="2905911514" sldId="271"/>
            <ac:picMk id="28" creationId="{9CEFD141-BD3E-15A6-4044-B1C376D6F397}"/>
          </ac:picMkLst>
        </pc:picChg>
        <pc:picChg chg="add mod">
          <ac:chgData name="Rashi bhardwaj" userId="a8ce0118b50dbc10" providerId="LiveId" clId="{E5E46110-B667-4E78-A35A-CC3AFDB851F9}" dt="2024-11-20T18:43:41.732" v="6482" actId="1038"/>
          <ac:picMkLst>
            <pc:docMk/>
            <pc:sldMk cId="2905911514" sldId="271"/>
            <ac:picMk id="31" creationId="{60D44CF7-AFA8-48CB-D84B-F07C3FDF5A4A}"/>
          </ac:picMkLst>
        </pc:picChg>
        <pc:picChg chg="add mod">
          <ac:chgData name="Rashi bhardwaj" userId="a8ce0118b50dbc10" providerId="LiveId" clId="{E5E46110-B667-4E78-A35A-CC3AFDB851F9}" dt="2024-11-20T18:44:52.014" v="6488" actId="14100"/>
          <ac:picMkLst>
            <pc:docMk/>
            <pc:sldMk cId="2905911514" sldId="271"/>
            <ac:picMk id="33" creationId="{D40F943C-EA7B-933A-575B-222B8B19784F}"/>
          </ac:picMkLst>
        </pc:picChg>
        <pc:picChg chg="add mod">
          <ac:chgData name="Rashi bhardwaj" userId="a8ce0118b50dbc10" providerId="LiveId" clId="{E5E46110-B667-4E78-A35A-CC3AFDB851F9}" dt="2024-11-20T18:47:31.972" v="6495" actId="14100"/>
          <ac:picMkLst>
            <pc:docMk/>
            <pc:sldMk cId="2905911514" sldId="271"/>
            <ac:picMk id="35" creationId="{9C3C1B5D-755A-56A9-E3D1-FB46A6514305}"/>
          </ac:picMkLst>
        </pc:picChg>
        <pc:picChg chg="add mod">
          <ac:chgData name="Rashi bhardwaj" userId="a8ce0118b50dbc10" providerId="LiveId" clId="{E5E46110-B667-4E78-A35A-CC3AFDB851F9}" dt="2024-11-20T19:04:37.801" v="6876" actId="14100"/>
          <ac:picMkLst>
            <pc:docMk/>
            <pc:sldMk cId="2905911514" sldId="271"/>
            <ac:picMk id="45" creationId="{76D49287-9A37-78E6-7EC0-7E3314FDE7E8}"/>
          </ac:picMkLst>
        </pc:picChg>
        <pc:picChg chg="add mod">
          <ac:chgData name="Rashi bhardwaj" userId="a8ce0118b50dbc10" providerId="LiveId" clId="{E5E46110-B667-4E78-A35A-CC3AFDB851F9}" dt="2024-11-20T19:04:42.288" v="6877" actId="1076"/>
          <ac:picMkLst>
            <pc:docMk/>
            <pc:sldMk cId="2905911514" sldId="271"/>
            <ac:picMk id="47" creationId="{778C3983-F013-EFA8-C30D-08AC1CD610C8}"/>
          </ac:picMkLst>
        </pc:picChg>
        <pc:picChg chg="add del mod">
          <ac:chgData name="Rashi bhardwaj" userId="a8ce0118b50dbc10" providerId="LiveId" clId="{E5E46110-B667-4E78-A35A-CC3AFDB851F9}" dt="2024-11-20T19:18:03.514" v="7277" actId="478"/>
          <ac:picMkLst>
            <pc:docMk/>
            <pc:sldMk cId="2905911514" sldId="271"/>
            <ac:picMk id="54" creationId="{E5A9FB5A-CC65-482F-F0C7-878753DE1D64}"/>
          </ac:picMkLst>
        </pc:picChg>
        <pc:picChg chg="add mod">
          <ac:chgData name="Rashi bhardwaj" userId="a8ce0118b50dbc10" providerId="LiveId" clId="{E5E46110-B667-4E78-A35A-CC3AFDB851F9}" dt="2024-11-20T19:18:15.789" v="7284" actId="1035"/>
          <ac:picMkLst>
            <pc:docMk/>
            <pc:sldMk cId="2905911514" sldId="271"/>
            <ac:picMk id="56" creationId="{261ED6F1-9174-54B2-04AC-435BB76F4207}"/>
          </ac:picMkLst>
        </pc:picChg>
        <pc:picChg chg="add mod">
          <ac:chgData name="Rashi bhardwaj" userId="a8ce0118b50dbc10" providerId="LiveId" clId="{E5E46110-B667-4E78-A35A-CC3AFDB851F9}" dt="2024-11-20T19:18:11.888" v="7280" actId="1035"/>
          <ac:picMkLst>
            <pc:docMk/>
            <pc:sldMk cId="2905911514" sldId="271"/>
            <ac:picMk id="61" creationId="{10BBC088-00B6-FB4C-281B-B7EDE0545EE8}"/>
          </ac:picMkLst>
        </pc:picChg>
        <pc:picChg chg="add mod">
          <ac:chgData name="Rashi bhardwaj" userId="a8ce0118b50dbc10" providerId="LiveId" clId="{E5E46110-B667-4E78-A35A-CC3AFDB851F9}" dt="2024-11-20T19:46:43.870" v="8368" actId="1037"/>
          <ac:picMkLst>
            <pc:docMk/>
            <pc:sldMk cId="2905911514" sldId="271"/>
            <ac:picMk id="72" creationId="{CC3B4B56-86FC-552E-B5B8-5024F11D4EDC}"/>
          </ac:picMkLst>
        </pc:picChg>
        <pc:picChg chg="add mod">
          <ac:chgData name="Rashi bhardwaj" userId="a8ce0118b50dbc10" providerId="LiveId" clId="{E5E46110-B667-4E78-A35A-CC3AFDB851F9}" dt="2024-11-20T19:47:26.335" v="8371" actId="1076"/>
          <ac:picMkLst>
            <pc:docMk/>
            <pc:sldMk cId="2905911514" sldId="271"/>
            <ac:picMk id="74" creationId="{2E9AAA02-9E5E-7C8B-2EFC-D383A00E6073}"/>
          </ac:picMkLst>
        </pc:picChg>
        <pc:picChg chg="add del mod">
          <ac:chgData name="Rashi bhardwaj" userId="a8ce0118b50dbc10" providerId="LiveId" clId="{E5E46110-B667-4E78-A35A-CC3AFDB851F9}" dt="2024-11-21T09:17:44.233" v="9824" actId="478"/>
          <ac:picMkLst>
            <pc:docMk/>
            <pc:sldMk cId="2905911514" sldId="271"/>
            <ac:picMk id="76" creationId="{2BB41A24-AC40-E650-CF0C-6CF5FE7050EE}"/>
          </ac:picMkLst>
        </pc:picChg>
        <pc:picChg chg="add mod">
          <ac:chgData name="Rashi bhardwaj" userId="a8ce0118b50dbc10" providerId="LiveId" clId="{E5E46110-B667-4E78-A35A-CC3AFDB851F9}" dt="2024-11-20T19:49:14.119" v="8389" actId="1037"/>
          <ac:picMkLst>
            <pc:docMk/>
            <pc:sldMk cId="2905911514" sldId="271"/>
            <ac:picMk id="78" creationId="{3FC3F9E7-21A1-9096-000F-A1FCA349F0C7}"/>
          </ac:picMkLst>
        </pc:picChg>
        <pc:picChg chg="add mod">
          <ac:chgData name="Rashi bhardwaj" userId="a8ce0118b50dbc10" providerId="LiveId" clId="{E5E46110-B667-4E78-A35A-CC3AFDB851F9}" dt="2024-11-20T20:26:52.307" v="9552"/>
          <ac:picMkLst>
            <pc:docMk/>
            <pc:sldMk cId="2905911514" sldId="271"/>
            <ac:picMk id="97" creationId="{ABB6B557-2A67-5794-C6FA-F96419DC5D9A}"/>
          </ac:picMkLst>
        </pc:picChg>
        <pc:cxnChg chg="add mod">
          <ac:chgData name="Rashi bhardwaj" userId="a8ce0118b50dbc10" providerId="LiveId" clId="{E5E46110-B667-4E78-A35A-CC3AFDB851F9}" dt="2024-11-21T10:09:31.624" v="10972"/>
          <ac:cxnSpMkLst>
            <pc:docMk/>
            <pc:sldMk cId="2905911514" sldId="271"/>
            <ac:cxnSpMk id="7" creationId="{288A4888-58AA-3A51-F665-7E377473632A}"/>
          </ac:cxnSpMkLst>
        </pc:cxnChg>
        <pc:cxnChg chg="add mod">
          <ac:chgData name="Rashi bhardwaj" userId="a8ce0118b50dbc10" providerId="LiveId" clId="{E5E46110-B667-4E78-A35A-CC3AFDB851F9}" dt="2024-11-21T10:12:45.670" v="11126"/>
          <ac:cxnSpMkLst>
            <pc:docMk/>
            <pc:sldMk cId="2905911514" sldId="271"/>
            <ac:cxnSpMk id="10" creationId="{15DE42D3-BA77-8932-CF4D-84A04EA2B0F1}"/>
          </ac:cxnSpMkLst>
        </pc:cxnChg>
        <pc:cxnChg chg="add mod">
          <ac:chgData name="Rashi bhardwaj" userId="a8ce0118b50dbc10" providerId="LiveId" clId="{E5E46110-B667-4E78-A35A-CC3AFDB851F9}" dt="2024-11-21T10:15:24.277" v="11154" actId="14100"/>
          <ac:cxnSpMkLst>
            <pc:docMk/>
            <pc:sldMk cId="2905911514" sldId="271"/>
            <ac:cxnSpMk id="11" creationId="{C36228D4-893E-CB51-0939-E2A2864D011D}"/>
          </ac:cxnSpMkLst>
        </pc:cxnChg>
        <pc:cxnChg chg="add mod">
          <ac:chgData name="Rashi bhardwaj" userId="a8ce0118b50dbc10" providerId="LiveId" clId="{E5E46110-B667-4E78-A35A-CC3AFDB851F9}" dt="2024-11-20T18:10:43.537" v="6171" actId="1036"/>
          <ac:cxnSpMkLst>
            <pc:docMk/>
            <pc:sldMk cId="2905911514" sldId="271"/>
            <ac:cxnSpMk id="21" creationId="{99B9D613-49D8-6670-85D7-D3E05E8CFC77}"/>
          </ac:cxnSpMkLst>
        </pc:cxnChg>
        <pc:cxnChg chg="add mod">
          <ac:chgData name="Rashi bhardwaj" userId="a8ce0118b50dbc10" providerId="LiveId" clId="{E5E46110-B667-4E78-A35A-CC3AFDB851F9}" dt="2024-11-20T18:50:38.508" v="6505" actId="14100"/>
          <ac:cxnSpMkLst>
            <pc:docMk/>
            <pc:sldMk cId="2905911514" sldId="271"/>
            <ac:cxnSpMk id="25" creationId="{98D577B3-7B8B-9B58-1888-02D77A85D4AC}"/>
          </ac:cxnSpMkLst>
        </pc:cxnChg>
        <pc:cxnChg chg="add mod">
          <ac:chgData name="Rashi bhardwaj" userId="a8ce0118b50dbc10" providerId="LiveId" clId="{E5E46110-B667-4E78-A35A-CC3AFDB851F9}" dt="2024-11-20T19:02:23.975" v="6834" actId="14100"/>
          <ac:cxnSpMkLst>
            <pc:docMk/>
            <pc:sldMk cId="2905911514" sldId="271"/>
            <ac:cxnSpMk id="42" creationId="{88F72A5F-5479-9C4F-AACC-3F7E37DA44F5}"/>
          </ac:cxnSpMkLst>
        </pc:cxnChg>
        <pc:cxnChg chg="add mod">
          <ac:chgData name="Rashi bhardwaj" userId="a8ce0118b50dbc10" providerId="LiveId" clId="{E5E46110-B667-4E78-A35A-CC3AFDB851F9}" dt="2024-11-20T19:16:42.653" v="7187" actId="14100"/>
          <ac:cxnSpMkLst>
            <pc:docMk/>
            <pc:sldMk cId="2905911514" sldId="271"/>
            <ac:cxnSpMk id="48" creationId="{1F233744-BB57-C115-C3A2-4EB62217C3DD}"/>
          </ac:cxnSpMkLst>
        </pc:cxnChg>
        <pc:cxnChg chg="add mod">
          <ac:chgData name="Rashi bhardwaj" userId="a8ce0118b50dbc10" providerId="LiveId" clId="{E5E46110-B667-4E78-A35A-CC3AFDB851F9}" dt="2024-11-20T19:07:18.007" v="7048" actId="1037"/>
          <ac:cxnSpMkLst>
            <pc:docMk/>
            <pc:sldMk cId="2905911514" sldId="271"/>
            <ac:cxnSpMk id="50" creationId="{4B6FF2BA-0AB2-C682-0EA8-49360189BE15}"/>
          </ac:cxnSpMkLst>
        </pc:cxnChg>
        <pc:cxnChg chg="add mod">
          <ac:chgData name="Rashi bhardwaj" userId="a8ce0118b50dbc10" providerId="LiveId" clId="{E5E46110-B667-4E78-A35A-CC3AFDB851F9}" dt="2024-11-20T19:19:29.742" v="7395" actId="1038"/>
          <ac:cxnSpMkLst>
            <pc:docMk/>
            <pc:sldMk cId="2905911514" sldId="271"/>
            <ac:cxnSpMk id="57" creationId="{32665E25-4F9F-AFAE-255A-75E455FF3457}"/>
          </ac:cxnSpMkLst>
        </pc:cxnChg>
        <pc:cxnChg chg="add del mod">
          <ac:chgData name="Rashi bhardwaj" userId="a8ce0118b50dbc10" providerId="LiveId" clId="{E5E46110-B667-4E78-A35A-CC3AFDB851F9}" dt="2024-11-20T19:18:38.517" v="7285" actId="478"/>
          <ac:cxnSpMkLst>
            <pc:docMk/>
            <pc:sldMk cId="2905911514" sldId="271"/>
            <ac:cxnSpMk id="59" creationId="{4650F9B3-7AC6-757B-331C-D3005218396B}"/>
          </ac:cxnSpMkLst>
        </pc:cxnChg>
        <pc:cxnChg chg="add mod">
          <ac:chgData name="Rashi bhardwaj" userId="a8ce0118b50dbc10" providerId="LiveId" clId="{E5E46110-B667-4E78-A35A-CC3AFDB851F9}" dt="2024-11-20T19:19:34.482" v="7397" actId="1037"/>
          <ac:cxnSpMkLst>
            <pc:docMk/>
            <pc:sldMk cId="2905911514" sldId="271"/>
            <ac:cxnSpMk id="62" creationId="{71C1FFB2-3E5D-E68B-A760-1FB0500C579D}"/>
          </ac:cxnSpMkLst>
        </pc:cxnChg>
        <pc:cxnChg chg="add mod">
          <ac:chgData name="Rashi bhardwaj" userId="a8ce0118b50dbc10" providerId="LiveId" clId="{E5E46110-B667-4E78-A35A-CC3AFDB851F9}" dt="2024-11-20T19:37:05.245" v="7987" actId="1035"/>
          <ac:cxnSpMkLst>
            <pc:docMk/>
            <pc:sldMk cId="2905911514" sldId="271"/>
            <ac:cxnSpMk id="64" creationId="{0B2EFC71-30FB-2B8D-3552-577D8B7884E4}"/>
          </ac:cxnSpMkLst>
        </pc:cxnChg>
        <pc:cxnChg chg="add mod">
          <ac:chgData name="Rashi bhardwaj" userId="a8ce0118b50dbc10" providerId="LiveId" clId="{E5E46110-B667-4E78-A35A-CC3AFDB851F9}" dt="2024-11-20T19:42:24.681" v="8313" actId="1037"/>
          <ac:cxnSpMkLst>
            <pc:docMk/>
            <pc:sldMk cId="2905911514" sldId="271"/>
            <ac:cxnSpMk id="68" creationId="{1DBD13F7-4116-2614-FCA3-C9C1A5B11EC5}"/>
          </ac:cxnSpMkLst>
        </pc:cxnChg>
        <pc:cxnChg chg="add del mod">
          <ac:chgData name="Rashi bhardwaj" userId="a8ce0118b50dbc10" providerId="LiveId" clId="{E5E46110-B667-4E78-A35A-CC3AFDB851F9}" dt="2024-11-20T20:13:24.039" v="8900" actId="478"/>
          <ac:cxnSpMkLst>
            <pc:docMk/>
            <pc:sldMk cId="2905911514" sldId="271"/>
            <ac:cxnSpMk id="95" creationId="{69067D0A-ADCC-8703-B1A1-7060EF033754}"/>
          </ac:cxnSpMkLst>
        </pc:cxnChg>
        <pc:cxnChg chg="add mod">
          <ac:chgData name="Rashi bhardwaj" userId="a8ce0118b50dbc10" providerId="LiveId" clId="{E5E46110-B667-4E78-A35A-CC3AFDB851F9}" dt="2024-11-20T20:19:59.753" v="9013" actId="1076"/>
          <ac:cxnSpMkLst>
            <pc:docMk/>
            <pc:sldMk cId="2905911514" sldId="271"/>
            <ac:cxnSpMk id="96" creationId="{F2F0FF02-CE1F-E149-9CB9-9CF677746BB6}"/>
          </ac:cxnSpMkLst>
        </pc:cxnChg>
      </pc:sldChg>
      <pc:sldChg chg="addSp delSp modSp mod setBg">
        <pc:chgData name="Rashi bhardwaj" userId="a8ce0118b50dbc10" providerId="LiveId" clId="{E5E46110-B667-4E78-A35A-CC3AFDB851F9}" dt="2024-11-21T10:15:40.072" v="11156"/>
        <pc:sldMkLst>
          <pc:docMk/>
          <pc:sldMk cId="726225029" sldId="272"/>
        </pc:sldMkLst>
        <pc:spChg chg="add mod">
          <ac:chgData name="Rashi bhardwaj" userId="a8ce0118b50dbc10" providerId="LiveId" clId="{E5E46110-B667-4E78-A35A-CC3AFDB851F9}" dt="2024-11-20T12:47:20.446" v="5020" actId="404"/>
          <ac:spMkLst>
            <pc:docMk/>
            <pc:sldMk cId="726225029" sldId="272"/>
            <ac:spMk id="3" creationId="{989B4FAB-6A12-00A3-EE02-D0FE1FEF8B14}"/>
          </ac:spMkLst>
        </pc:spChg>
        <pc:spChg chg="add mod ord">
          <ac:chgData name="Rashi bhardwaj" userId="a8ce0118b50dbc10" providerId="LiveId" clId="{E5E46110-B667-4E78-A35A-CC3AFDB851F9}" dt="2024-11-19T20:10:15.592" v="4255" actId="14100"/>
          <ac:spMkLst>
            <pc:docMk/>
            <pc:sldMk cId="726225029" sldId="272"/>
            <ac:spMk id="5" creationId="{AEAD09E9-B408-289C-F8A9-616C5F16FC09}"/>
          </ac:spMkLst>
        </pc:spChg>
        <pc:spChg chg="del">
          <ac:chgData name="Rashi bhardwaj" userId="a8ce0118b50dbc10" providerId="LiveId" clId="{E5E46110-B667-4E78-A35A-CC3AFDB851F9}" dt="2024-11-20T20:11:05.610" v="8886" actId="478"/>
          <ac:spMkLst>
            <pc:docMk/>
            <pc:sldMk cId="726225029" sldId="272"/>
            <ac:spMk id="11" creationId="{3DDBBC84-1444-0694-2CDB-4D156D50A69E}"/>
          </ac:spMkLst>
        </pc:spChg>
        <pc:spChg chg="add mod">
          <ac:chgData name="Rashi bhardwaj" userId="a8ce0118b50dbc10" providerId="LiveId" clId="{E5E46110-B667-4E78-A35A-CC3AFDB851F9}" dt="2024-11-20T20:11:07.012" v="8887"/>
          <ac:spMkLst>
            <pc:docMk/>
            <pc:sldMk cId="726225029" sldId="272"/>
            <ac:spMk id="12" creationId="{8C020DCD-61E5-9CA2-CF30-508455BA0A96}"/>
          </ac:spMkLst>
        </pc:spChg>
        <pc:spChg chg="add mod">
          <ac:chgData name="Rashi bhardwaj" userId="a8ce0118b50dbc10" providerId="LiveId" clId="{E5E46110-B667-4E78-A35A-CC3AFDB851F9}" dt="2024-11-20T20:14:00.326" v="8904"/>
          <ac:spMkLst>
            <pc:docMk/>
            <pc:sldMk cId="726225029" sldId="272"/>
            <ac:spMk id="15" creationId="{D6530D56-060F-0A6E-53B8-A38C6F5989BB}"/>
          </ac:spMkLst>
        </pc:spChg>
        <pc:spChg chg="add mod">
          <ac:chgData name="Rashi bhardwaj" userId="a8ce0118b50dbc10" providerId="LiveId" clId="{E5E46110-B667-4E78-A35A-CC3AFDB851F9}" dt="2024-11-20T20:24:27.184" v="9373" actId="1076"/>
          <ac:spMkLst>
            <pc:docMk/>
            <pc:sldMk cId="726225029" sldId="272"/>
            <ac:spMk id="18" creationId="{01D038CE-FB54-EA5C-7ADA-B0A3A48C7255}"/>
          </ac:spMkLst>
        </pc:spChg>
        <pc:spChg chg="add mod">
          <ac:chgData name="Rashi bhardwaj" userId="a8ce0118b50dbc10" providerId="LiveId" clId="{E5E46110-B667-4E78-A35A-CC3AFDB851F9}" dt="2024-11-19T20:10:21.894" v="4259" actId="1036"/>
          <ac:spMkLst>
            <pc:docMk/>
            <pc:sldMk cId="726225029" sldId="272"/>
            <ac:spMk id="19" creationId="{0A280AAF-3CE2-EF0C-999E-DEF3FE8B1026}"/>
          </ac:spMkLst>
        </pc:spChg>
        <pc:spChg chg="add mod">
          <ac:chgData name="Rashi bhardwaj" userId="a8ce0118b50dbc10" providerId="LiveId" clId="{E5E46110-B667-4E78-A35A-CC3AFDB851F9}" dt="2024-11-20T20:14:00.326" v="8904"/>
          <ac:spMkLst>
            <pc:docMk/>
            <pc:sldMk cId="726225029" sldId="272"/>
            <ac:spMk id="20" creationId="{75D59CDD-4E1D-A9B4-AAD0-334BF0DE8673}"/>
          </ac:spMkLst>
        </pc:spChg>
        <pc:spChg chg="add del mod">
          <ac:chgData name="Rashi bhardwaj" userId="a8ce0118b50dbc10" providerId="LiveId" clId="{E5E46110-B667-4E78-A35A-CC3AFDB851F9}" dt="2024-11-20T06:54:23.329" v="4804" actId="478"/>
          <ac:spMkLst>
            <pc:docMk/>
            <pc:sldMk cId="726225029" sldId="272"/>
            <ac:spMk id="20" creationId="{D3CD79D6-7604-FE5C-7C72-1CF9483FBDB1}"/>
          </ac:spMkLst>
        </pc:spChg>
        <pc:spChg chg="add mod">
          <ac:chgData name="Rashi bhardwaj" userId="a8ce0118b50dbc10" providerId="LiveId" clId="{E5E46110-B667-4E78-A35A-CC3AFDB851F9}" dt="2024-11-20T06:46:25.309" v="4767" actId="14"/>
          <ac:spMkLst>
            <pc:docMk/>
            <pc:sldMk cId="726225029" sldId="272"/>
            <ac:spMk id="22" creationId="{0D226A7E-2E47-A0C7-DF46-56D6311444C7}"/>
          </ac:spMkLst>
        </pc:spChg>
        <pc:spChg chg="add mod">
          <ac:chgData name="Rashi bhardwaj" userId="a8ce0118b50dbc10" providerId="LiveId" clId="{E5E46110-B667-4E78-A35A-CC3AFDB851F9}" dt="2024-11-20T20:14:00.326" v="8904"/>
          <ac:spMkLst>
            <pc:docMk/>
            <pc:sldMk cId="726225029" sldId="272"/>
            <ac:spMk id="24" creationId="{E9814CAD-C959-6939-A0C1-690D7E519CE4}"/>
          </ac:spMkLst>
        </pc:spChg>
        <pc:spChg chg="add mod">
          <ac:chgData name="Rashi bhardwaj" userId="a8ce0118b50dbc10" providerId="LiveId" clId="{E5E46110-B667-4E78-A35A-CC3AFDB851F9}" dt="2024-11-20T12:47:31.433" v="5021" actId="404"/>
          <ac:spMkLst>
            <pc:docMk/>
            <pc:sldMk cId="726225029" sldId="272"/>
            <ac:spMk id="25" creationId="{1F7ADE64-6615-D262-4455-9E620B3578AA}"/>
          </ac:spMkLst>
        </pc:spChg>
        <pc:spChg chg="add mod ord">
          <ac:chgData name="Rashi bhardwaj" userId="a8ce0118b50dbc10" providerId="LiveId" clId="{E5E46110-B667-4E78-A35A-CC3AFDB851F9}" dt="2024-11-19T18:43:54.155" v="1769" actId="207"/>
          <ac:spMkLst>
            <pc:docMk/>
            <pc:sldMk cId="726225029" sldId="272"/>
            <ac:spMk id="26" creationId="{E7EA13E5-9A31-4F8B-32BC-5A7E6ED4CBC5}"/>
          </ac:spMkLst>
        </pc:spChg>
        <pc:spChg chg="add mod">
          <ac:chgData name="Rashi bhardwaj" userId="a8ce0118b50dbc10" providerId="LiveId" clId="{E5E46110-B667-4E78-A35A-CC3AFDB851F9}" dt="2024-11-20T20:14:00.326" v="8904"/>
          <ac:spMkLst>
            <pc:docMk/>
            <pc:sldMk cId="726225029" sldId="272"/>
            <ac:spMk id="27" creationId="{5443C95D-E582-E003-FA68-36BEBB1AB4AB}"/>
          </ac:spMkLst>
        </pc:spChg>
        <pc:spChg chg="add mod">
          <ac:chgData name="Rashi bhardwaj" userId="a8ce0118b50dbc10" providerId="LiveId" clId="{E5E46110-B667-4E78-A35A-CC3AFDB851F9}" dt="2024-11-19T18:41:43.724" v="1755" actId="1037"/>
          <ac:spMkLst>
            <pc:docMk/>
            <pc:sldMk cId="726225029" sldId="272"/>
            <ac:spMk id="29" creationId="{A99F7AE5-07D3-6F2C-F3D2-6123D2CC57DF}"/>
          </ac:spMkLst>
        </pc:spChg>
        <pc:spChg chg="add mod">
          <ac:chgData name="Rashi bhardwaj" userId="a8ce0118b50dbc10" providerId="LiveId" clId="{E5E46110-B667-4E78-A35A-CC3AFDB851F9}" dt="2024-11-20T06:51:25.077" v="4788" actId="1037"/>
          <ac:spMkLst>
            <pc:docMk/>
            <pc:sldMk cId="726225029" sldId="272"/>
            <ac:spMk id="30" creationId="{51A3BEEE-E2FB-AFBE-83C6-785A00D08804}"/>
          </ac:spMkLst>
        </pc:spChg>
        <pc:spChg chg="add mod">
          <ac:chgData name="Rashi bhardwaj" userId="a8ce0118b50dbc10" providerId="LiveId" clId="{E5E46110-B667-4E78-A35A-CC3AFDB851F9}" dt="2024-11-19T18:39:05.093" v="1717" actId="1076"/>
          <ac:spMkLst>
            <pc:docMk/>
            <pc:sldMk cId="726225029" sldId="272"/>
            <ac:spMk id="31" creationId="{D8E69E18-167C-2C66-CF88-7EFB1040A05D}"/>
          </ac:spMkLst>
        </pc:spChg>
        <pc:spChg chg="add mod">
          <ac:chgData name="Rashi bhardwaj" userId="a8ce0118b50dbc10" providerId="LiveId" clId="{E5E46110-B667-4E78-A35A-CC3AFDB851F9}" dt="2024-11-20T20:14:00.326" v="8904"/>
          <ac:spMkLst>
            <pc:docMk/>
            <pc:sldMk cId="726225029" sldId="272"/>
            <ac:spMk id="32" creationId="{D400DB62-4B5A-4674-D949-5BF0A2910B9A}"/>
          </ac:spMkLst>
        </pc:spChg>
        <pc:spChg chg="add mod">
          <ac:chgData name="Rashi bhardwaj" userId="a8ce0118b50dbc10" providerId="LiveId" clId="{E5E46110-B667-4E78-A35A-CC3AFDB851F9}" dt="2024-11-19T18:57:47.283" v="2153" actId="1036"/>
          <ac:spMkLst>
            <pc:docMk/>
            <pc:sldMk cId="726225029" sldId="272"/>
            <ac:spMk id="34" creationId="{F7B70243-FA94-C0E4-B795-D718C5DB54FC}"/>
          </ac:spMkLst>
        </pc:spChg>
        <pc:spChg chg="add mod">
          <ac:chgData name="Rashi bhardwaj" userId="a8ce0118b50dbc10" providerId="LiveId" clId="{E5E46110-B667-4E78-A35A-CC3AFDB851F9}" dt="2024-11-19T18:55:19.638" v="2091" actId="14100"/>
          <ac:spMkLst>
            <pc:docMk/>
            <pc:sldMk cId="726225029" sldId="272"/>
            <ac:spMk id="35" creationId="{2A3FADF2-5612-66BE-D9FD-6497D5780478}"/>
          </ac:spMkLst>
        </pc:spChg>
        <pc:spChg chg="mod">
          <ac:chgData name="Rashi bhardwaj" userId="a8ce0118b50dbc10" providerId="LiveId" clId="{E5E46110-B667-4E78-A35A-CC3AFDB851F9}" dt="2024-11-20T07:02:43.330" v="4840" actId="1037"/>
          <ac:spMkLst>
            <pc:docMk/>
            <pc:sldMk cId="726225029" sldId="272"/>
            <ac:spMk id="36" creationId="{7CDB517C-B87F-37E8-100F-F762F700BA98}"/>
          </ac:spMkLst>
        </pc:spChg>
        <pc:spChg chg="mod">
          <ac:chgData name="Rashi bhardwaj" userId="a8ce0118b50dbc10" providerId="LiveId" clId="{E5E46110-B667-4E78-A35A-CC3AFDB851F9}" dt="2024-11-20T07:01:01.859" v="4838" actId="1035"/>
          <ac:spMkLst>
            <pc:docMk/>
            <pc:sldMk cId="726225029" sldId="272"/>
            <ac:spMk id="38" creationId="{28956D9D-53DE-0C0D-6BA5-AF0884550520}"/>
          </ac:spMkLst>
        </pc:spChg>
        <pc:spChg chg="mod">
          <ac:chgData name="Rashi bhardwaj" userId="a8ce0118b50dbc10" providerId="LiveId" clId="{E5E46110-B667-4E78-A35A-CC3AFDB851F9}" dt="2024-11-20T07:02:43.330" v="4840" actId="1037"/>
          <ac:spMkLst>
            <pc:docMk/>
            <pc:sldMk cId="726225029" sldId="272"/>
            <ac:spMk id="39" creationId="{54161F4E-FEB8-4D1D-13BF-84ABA7F70397}"/>
          </ac:spMkLst>
        </pc:spChg>
        <pc:spChg chg="mod">
          <ac:chgData name="Rashi bhardwaj" userId="a8ce0118b50dbc10" providerId="LiveId" clId="{E5E46110-B667-4E78-A35A-CC3AFDB851F9}" dt="2024-11-20T06:56:27.808" v="4825" actId="207"/>
          <ac:spMkLst>
            <pc:docMk/>
            <pc:sldMk cId="726225029" sldId="272"/>
            <ac:spMk id="40" creationId="{C45564A2-8CF8-7CC3-EADB-9D06F224F8C2}"/>
          </ac:spMkLst>
        </pc:spChg>
        <pc:spChg chg="add mod">
          <ac:chgData name="Rashi bhardwaj" userId="a8ce0118b50dbc10" providerId="LiveId" clId="{E5E46110-B667-4E78-A35A-CC3AFDB851F9}" dt="2024-11-19T19:03:15.626" v="2299" actId="1035"/>
          <ac:spMkLst>
            <pc:docMk/>
            <pc:sldMk cId="726225029" sldId="272"/>
            <ac:spMk id="42" creationId="{A876141F-F2BF-5B86-2044-1CBB04C4B9D4}"/>
          </ac:spMkLst>
        </pc:spChg>
        <pc:spChg chg="mod">
          <ac:chgData name="Rashi bhardwaj" userId="a8ce0118b50dbc10" providerId="LiveId" clId="{E5E46110-B667-4E78-A35A-CC3AFDB851F9}" dt="2024-11-20T07:02:43.330" v="4840" actId="1037"/>
          <ac:spMkLst>
            <pc:docMk/>
            <pc:sldMk cId="726225029" sldId="272"/>
            <ac:spMk id="43" creationId="{39C4E91E-98E7-069E-CDC5-52B1D32240F7}"/>
          </ac:spMkLst>
        </pc:spChg>
        <pc:spChg chg="add mod">
          <ac:chgData name="Rashi bhardwaj" userId="a8ce0118b50dbc10" providerId="LiveId" clId="{E5E46110-B667-4E78-A35A-CC3AFDB851F9}" dt="2024-11-19T19:03:32.059" v="2308" actId="1076"/>
          <ac:spMkLst>
            <pc:docMk/>
            <pc:sldMk cId="726225029" sldId="272"/>
            <ac:spMk id="45" creationId="{306BEE6C-B72D-9F65-3FE9-9475DDC24DDF}"/>
          </ac:spMkLst>
        </pc:spChg>
        <pc:spChg chg="add mod">
          <ac:chgData name="Rashi bhardwaj" userId="a8ce0118b50dbc10" providerId="LiveId" clId="{E5E46110-B667-4E78-A35A-CC3AFDB851F9}" dt="2024-11-20T20:14:00.326" v="8904"/>
          <ac:spMkLst>
            <pc:docMk/>
            <pc:sldMk cId="726225029" sldId="272"/>
            <ac:spMk id="46" creationId="{6C258358-6EEE-9691-1957-3EF5915F9652}"/>
          </ac:spMkLst>
        </pc:spChg>
        <pc:spChg chg="add mod">
          <ac:chgData name="Rashi bhardwaj" userId="a8ce0118b50dbc10" providerId="LiveId" clId="{E5E46110-B667-4E78-A35A-CC3AFDB851F9}" dt="2024-11-19T19:04:26.200" v="2389" actId="1038"/>
          <ac:spMkLst>
            <pc:docMk/>
            <pc:sldMk cId="726225029" sldId="272"/>
            <ac:spMk id="48" creationId="{1378174B-15EA-B71A-32D9-F04243CC542A}"/>
          </ac:spMkLst>
        </pc:spChg>
        <pc:spChg chg="add mod">
          <ac:chgData name="Rashi bhardwaj" userId="a8ce0118b50dbc10" providerId="LiveId" clId="{E5E46110-B667-4E78-A35A-CC3AFDB851F9}" dt="2024-11-20T20:14:00.326" v="8904"/>
          <ac:spMkLst>
            <pc:docMk/>
            <pc:sldMk cId="726225029" sldId="272"/>
            <ac:spMk id="49" creationId="{3AFD9E2B-8184-07B2-A51F-0301AB69BEAB}"/>
          </ac:spMkLst>
        </pc:spChg>
        <pc:spChg chg="add mod">
          <ac:chgData name="Rashi bhardwaj" userId="a8ce0118b50dbc10" providerId="LiveId" clId="{E5E46110-B667-4E78-A35A-CC3AFDB851F9}" dt="2024-11-19T19:06:50.939" v="2474" actId="1038"/>
          <ac:spMkLst>
            <pc:docMk/>
            <pc:sldMk cId="726225029" sldId="272"/>
            <ac:spMk id="51" creationId="{C632E535-616F-2E28-E199-C2AEC9FA284C}"/>
          </ac:spMkLst>
        </pc:spChg>
        <pc:spChg chg="mod">
          <ac:chgData name="Rashi bhardwaj" userId="a8ce0118b50dbc10" providerId="LiveId" clId="{E5E46110-B667-4E78-A35A-CC3AFDB851F9}" dt="2024-11-20T06:56:41.231" v="4827" actId="207"/>
          <ac:spMkLst>
            <pc:docMk/>
            <pc:sldMk cId="726225029" sldId="272"/>
            <ac:spMk id="53" creationId="{E8B7006F-B3DD-8A50-8456-623A2B708E78}"/>
          </ac:spMkLst>
        </pc:spChg>
        <pc:spChg chg="add mod">
          <ac:chgData name="Rashi bhardwaj" userId="a8ce0118b50dbc10" providerId="LiveId" clId="{E5E46110-B667-4E78-A35A-CC3AFDB851F9}" dt="2024-11-20T12:47:36.901" v="5022" actId="404"/>
          <ac:spMkLst>
            <pc:docMk/>
            <pc:sldMk cId="726225029" sldId="272"/>
            <ac:spMk id="54" creationId="{B543D0D4-6638-D6F8-0DDE-0D8045C22654}"/>
          </ac:spMkLst>
        </pc:spChg>
        <pc:spChg chg="mod">
          <ac:chgData name="Rashi bhardwaj" userId="a8ce0118b50dbc10" providerId="LiveId" clId="{E5E46110-B667-4E78-A35A-CC3AFDB851F9}" dt="2024-11-20T07:02:43.330" v="4840" actId="1037"/>
          <ac:spMkLst>
            <pc:docMk/>
            <pc:sldMk cId="726225029" sldId="272"/>
            <ac:spMk id="56" creationId="{706791A3-9CAF-862D-8054-9960FF6D1A3A}"/>
          </ac:spMkLst>
        </pc:spChg>
        <pc:spChg chg="add mod">
          <ac:chgData name="Rashi bhardwaj" userId="a8ce0118b50dbc10" providerId="LiveId" clId="{E5E46110-B667-4E78-A35A-CC3AFDB851F9}" dt="2024-11-20T20:24:02.137" v="9368" actId="1076"/>
          <ac:spMkLst>
            <pc:docMk/>
            <pc:sldMk cId="726225029" sldId="272"/>
            <ac:spMk id="57" creationId="{E21A642D-E8EB-4920-231F-4E309933B2BA}"/>
          </ac:spMkLst>
        </pc:spChg>
        <pc:spChg chg="mod">
          <ac:chgData name="Rashi bhardwaj" userId="a8ce0118b50dbc10" providerId="LiveId" clId="{E5E46110-B667-4E78-A35A-CC3AFDB851F9}" dt="2024-11-20T06:55:25.270" v="4816" actId="114"/>
          <ac:spMkLst>
            <pc:docMk/>
            <pc:sldMk cId="726225029" sldId="272"/>
            <ac:spMk id="58" creationId="{E5F0AEC3-4720-BBEA-82B9-31535575FCE6}"/>
          </ac:spMkLst>
        </pc:spChg>
        <pc:spChg chg="add mod">
          <ac:chgData name="Rashi bhardwaj" userId="a8ce0118b50dbc10" providerId="LiveId" clId="{E5E46110-B667-4E78-A35A-CC3AFDB851F9}" dt="2024-11-20T20:14:00.326" v="8904"/>
          <ac:spMkLst>
            <pc:docMk/>
            <pc:sldMk cId="726225029" sldId="272"/>
            <ac:spMk id="59" creationId="{49D42F95-D34C-E9A8-BBE0-C973C7487C50}"/>
          </ac:spMkLst>
        </pc:spChg>
        <pc:spChg chg="add mod">
          <ac:chgData name="Rashi bhardwaj" userId="a8ce0118b50dbc10" providerId="LiveId" clId="{E5E46110-B667-4E78-A35A-CC3AFDB851F9}" dt="2024-11-20T20:14:00.326" v="8904"/>
          <ac:spMkLst>
            <pc:docMk/>
            <pc:sldMk cId="726225029" sldId="272"/>
            <ac:spMk id="61" creationId="{D8B90A17-850B-60E1-3D9D-68BD46629985}"/>
          </ac:spMkLst>
        </pc:spChg>
        <pc:spChg chg="add mod">
          <ac:chgData name="Rashi bhardwaj" userId="a8ce0118b50dbc10" providerId="LiveId" clId="{E5E46110-B667-4E78-A35A-CC3AFDB851F9}" dt="2024-11-20T20:14:00.326" v="8904"/>
          <ac:spMkLst>
            <pc:docMk/>
            <pc:sldMk cId="726225029" sldId="272"/>
            <ac:spMk id="62" creationId="{76CF215B-AD75-A524-A873-33151A47268B}"/>
          </ac:spMkLst>
        </pc:spChg>
        <pc:spChg chg="add mod">
          <ac:chgData name="Rashi bhardwaj" userId="a8ce0118b50dbc10" providerId="LiveId" clId="{E5E46110-B667-4E78-A35A-CC3AFDB851F9}" dt="2024-11-19T19:37:26.780" v="3516" actId="1037"/>
          <ac:spMkLst>
            <pc:docMk/>
            <pc:sldMk cId="726225029" sldId="272"/>
            <ac:spMk id="65" creationId="{A9ED77A8-BDC0-A111-FF06-4976A515D7F7}"/>
          </ac:spMkLst>
        </pc:spChg>
        <pc:spChg chg="add mod">
          <ac:chgData name="Rashi bhardwaj" userId="a8ce0118b50dbc10" providerId="LiveId" clId="{E5E46110-B667-4E78-A35A-CC3AFDB851F9}" dt="2024-11-19T19:37:32.169" v="3519" actId="1037"/>
          <ac:spMkLst>
            <pc:docMk/>
            <pc:sldMk cId="726225029" sldId="272"/>
            <ac:spMk id="66" creationId="{3F263B3F-8B01-B2D9-8CDB-C15F5C3B1E6F}"/>
          </ac:spMkLst>
        </pc:spChg>
        <pc:spChg chg="add mod">
          <ac:chgData name="Rashi bhardwaj" userId="a8ce0118b50dbc10" providerId="LiveId" clId="{E5E46110-B667-4E78-A35A-CC3AFDB851F9}" dt="2024-11-19T19:38:37.498" v="3570" actId="1076"/>
          <ac:spMkLst>
            <pc:docMk/>
            <pc:sldMk cId="726225029" sldId="272"/>
            <ac:spMk id="67" creationId="{0B5E8474-9206-C071-82B2-922280CE59B5}"/>
          </ac:spMkLst>
        </pc:spChg>
        <pc:spChg chg="add mod">
          <ac:chgData name="Rashi bhardwaj" userId="a8ce0118b50dbc10" providerId="LiveId" clId="{E5E46110-B667-4E78-A35A-CC3AFDB851F9}" dt="2024-11-19T19:49:52.424" v="3940" actId="1076"/>
          <ac:spMkLst>
            <pc:docMk/>
            <pc:sldMk cId="726225029" sldId="272"/>
            <ac:spMk id="68" creationId="{C8A34E1E-D336-D1BD-4475-7721B29F4E8C}"/>
          </ac:spMkLst>
        </pc:spChg>
        <pc:spChg chg="add mod">
          <ac:chgData name="Rashi bhardwaj" userId="a8ce0118b50dbc10" providerId="LiveId" clId="{E5E46110-B667-4E78-A35A-CC3AFDB851F9}" dt="2024-11-19T19:45:19.002" v="3801" actId="1038"/>
          <ac:spMkLst>
            <pc:docMk/>
            <pc:sldMk cId="726225029" sldId="272"/>
            <ac:spMk id="70" creationId="{8A2A0263-17C0-907E-72D7-C1B84C59D3A7}"/>
          </ac:spMkLst>
        </pc:spChg>
        <pc:spChg chg="add del mod">
          <ac:chgData name="Rashi bhardwaj" userId="a8ce0118b50dbc10" providerId="LiveId" clId="{E5E46110-B667-4E78-A35A-CC3AFDB851F9}" dt="2024-11-20T18:01:22.816" v="6141" actId="1038"/>
          <ac:spMkLst>
            <pc:docMk/>
            <pc:sldMk cId="726225029" sldId="272"/>
            <ac:spMk id="71" creationId="{4A79C593-E520-9DBA-A30F-68D13A09A3C7}"/>
          </ac:spMkLst>
        </pc:spChg>
        <pc:spChg chg="add mod">
          <ac:chgData name="Rashi bhardwaj" userId="a8ce0118b50dbc10" providerId="LiveId" clId="{E5E46110-B667-4E78-A35A-CC3AFDB851F9}" dt="2024-11-19T19:45:39.632" v="3802" actId="1076"/>
          <ac:spMkLst>
            <pc:docMk/>
            <pc:sldMk cId="726225029" sldId="272"/>
            <ac:spMk id="72" creationId="{EC8480EF-C05C-FBFB-D7F8-69F8CE0EC515}"/>
          </ac:spMkLst>
        </pc:spChg>
        <pc:spChg chg="add mod">
          <ac:chgData name="Rashi bhardwaj" userId="a8ce0118b50dbc10" providerId="LiveId" clId="{E5E46110-B667-4E78-A35A-CC3AFDB851F9}" dt="2024-11-19T19:46:36.822" v="3888" actId="1038"/>
          <ac:spMkLst>
            <pc:docMk/>
            <pc:sldMk cId="726225029" sldId="272"/>
            <ac:spMk id="73" creationId="{019867CB-31D4-B81B-0925-A2535EC7C092}"/>
          </ac:spMkLst>
        </pc:spChg>
        <pc:spChg chg="add mod">
          <ac:chgData name="Rashi bhardwaj" userId="a8ce0118b50dbc10" providerId="LiveId" clId="{E5E46110-B667-4E78-A35A-CC3AFDB851F9}" dt="2024-11-19T19:50:22.998" v="4015" actId="1037"/>
          <ac:spMkLst>
            <pc:docMk/>
            <pc:sldMk cId="726225029" sldId="272"/>
            <ac:spMk id="74" creationId="{BB80F2E0-63AA-8E5D-605F-3B26A66A4186}"/>
          </ac:spMkLst>
        </pc:spChg>
        <pc:spChg chg="del">
          <ac:chgData name="Rashi bhardwaj" userId="a8ce0118b50dbc10" providerId="LiveId" clId="{E5E46110-B667-4E78-A35A-CC3AFDB851F9}" dt="2024-11-20T20:11:03.040" v="8885" actId="478"/>
          <ac:spMkLst>
            <pc:docMk/>
            <pc:sldMk cId="726225029" sldId="272"/>
            <ac:spMk id="77" creationId="{D8F2B4F1-3ADF-B2A9-8A35-B26688C23674}"/>
          </ac:spMkLst>
        </pc:spChg>
        <pc:spChg chg="add mod">
          <ac:chgData name="Rashi bhardwaj" userId="a8ce0118b50dbc10" providerId="LiveId" clId="{E5E46110-B667-4E78-A35A-CC3AFDB851F9}" dt="2024-11-19T20:01:22.912" v="4103" actId="114"/>
          <ac:spMkLst>
            <pc:docMk/>
            <pc:sldMk cId="726225029" sldId="272"/>
            <ac:spMk id="81" creationId="{3664C172-76CD-6D72-3BDE-51D98B970B69}"/>
          </ac:spMkLst>
        </pc:spChg>
        <pc:spChg chg="add mod">
          <ac:chgData name="Rashi bhardwaj" userId="a8ce0118b50dbc10" providerId="LiveId" clId="{E5E46110-B667-4E78-A35A-CC3AFDB851F9}" dt="2024-11-19T20:26:04.764" v="4426" actId="14100"/>
          <ac:spMkLst>
            <pc:docMk/>
            <pc:sldMk cId="726225029" sldId="272"/>
            <ac:spMk id="84" creationId="{2E15D3B5-38EC-9C21-B75A-C86501342D1B}"/>
          </ac:spMkLst>
        </pc:spChg>
        <pc:spChg chg="add mod">
          <ac:chgData name="Rashi bhardwaj" userId="a8ce0118b50dbc10" providerId="LiveId" clId="{E5E46110-B667-4E78-A35A-CC3AFDB851F9}" dt="2024-11-20T12:47:43.834" v="5023" actId="404"/>
          <ac:spMkLst>
            <pc:docMk/>
            <pc:sldMk cId="726225029" sldId="272"/>
            <ac:spMk id="86" creationId="{B957A1C8-3E2E-88FE-82B8-CEB2B8417B7B}"/>
          </ac:spMkLst>
        </pc:spChg>
        <pc:spChg chg="add mod">
          <ac:chgData name="Rashi bhardwaj" userId="a8ce0118b50dbc10" providerId="LiveId" clId="{E5E46110-B667-4E78-A35A-CC3AFDB851F9}" dt="2024-11-20T12:47:48.905" v="5024" actId="404"/>
          <ac:spMkLst>
            <pc:docMk/>
            <pc:sldMk cId="726225029" sldId="272"/>
            <ac:spMk id="87" creationId="{832FC1B5-EDDC-A6DF-F167-FCA60A955256}"/>
          </ac:spMkLst>
        </pc:spChg>
        <pc:spChg chg="add mod ord">
          <ac:chgData name="Rashi bhardwaj" userId="a8ce0118b50dbc10" providerId="LiveId" clId="{E5E46110-B667-4E78-A35A-CC3AFDB851F9}" dt="2024-11-19T20:36:20.158" v="4694" actId="1037"/>
          <ac:spMkLst>
            <pc:docMk/>
            <pc:sldMk cId="726225029" sldId="272"/>
            <ac:spMk id="94" creationId="{8B76FCCB-EE23-413E-EA97-6C0B83FF60BF}"/>
          </ac:spMkLst>
        </pc:spChg>
        <pc:spChg chg="add mod ord">
          <ac:chgData name="Rashi bhardwaj" userId="a8ce0118b50dbc10" providerId="LiveId" clId="{E5E46110-B667-4E78-A35A-CC3AFDB851F9}" dt="2024-11-19T20:39:44.155" v="4739" actId="20577"/>
          <ac:spMkLst>
            <pc:docMk/>
            <pc:sldMk cId="726225029" sldId="272"/>
            <ac:spMk id="96" creationId="{C1ABE1D4-8747-483F-152B-8B7B7F99218D}"/>
          </ac:spMkLst>
        </pc:spChg>
        <pc:spChg chg="mod">
          <ac:chgData name="Rashi bhardwaj" userId="a8ce0118b50dbc10" providerId="LiveId" clId="{E5E46110-B667-4E78-A35A-CC3AFDB851F9}" dt="2024-11-19T17:28:08.450" v="115" actId="207"/>
          <ac:spMkLst>
            <pc:docMk/>
            <pc:sldMk cId="726225029" sldId="272"/>
            <ac:spMk id="145" creationId="{EE4CAABF-EE46-58E3-DB80-8C0DEAD632A8}"/>
          </ac:spMkLst>
        </pc:spChg>
        <pc:picChg chg="add mod">
          <ac:chgData name="Rashi bhardwaj" userId="a8ce0118b50dbc10" providerId="LiveId" clId="{E5E46110-B667-4E78-A35A-CC3AFDB851F9}" dt="2024-11-20T06:46:44.763" v="4771" actId="14100"/>
          <ac:picMkLst>
            <pc:docMk/>
            <pc:sldMk cId="726225029" sldId="272"/>
            <ac:picMk id="13" creationId="{22256D3D-8C2D-2AA4-58AE-9469F5BDF718}"/>
          </ac:picMkLst>
        </pc:picChg>
        <pc:picChg chg="add mod">
          <ac:chgData name="Rashi bhardwaj" userId="a8ce0118b50dbc10" providerId="LiveId" clId="{E5E46110-B667-4E78-A35A-CC3AFDB851F9}" dt="2024-11-20T06:51:58.969" v="4792" actId="167"/>
          <ac:picMkLst>
            <pc:docMk/>
            <pc:sldMk cId="726225029" sldId="272"/>
            <ac:picMk id="14" creationId="{1E7C691A-8F5E-237E-034A-BDE39F04CB8B}"/>
          </ac:picMkLst>
        </pc:picChg>
        <pc:picChg chg="add mod">
          <ac:chgData name="Rashi bhardwaj" userId="a8ce0118b50dbc10" providerId="LiveId" clId="{E5E46110-B667-4E78-A35A-CC3AFDB851F9}" dt="2024-11-20T07:00:24.278" v="4836" actId="1076"/>
          <ac:picMkLst>
            <pc:docMk/>
            <pc:sldMk cId="726225029" sldId="272"/>
            <ac:picMk id="16" creationId="{D7F18796-497E-D0E2-0617-A5AD40BAA2F9}"/>
          </ac:picMkLst>
        </pc:picChg>
        <pc:picChg chg="del mod">
          <ac:chgData name="Rashi bhardwaj" userId="a8ce0118b50dbc10" providerId="LiveId" clId="{E5E46110-B667-4E78-A35A-CC3AFDB851F9}" dt="2024-11-20T06:51:44.432" v="4790" actId="478"/>
          <ac:picMkLst>
            <pc:docMk/>
            <pc:sldMk cId="726225029" sldId="272"/>
            <ac:picMk id="18" creationId="{3D0924D4-1C1B-5079-F4FD-6DC26689A737}"/>
          </ac:picMkLst>
        </pc:picChg>
        <pc:picChg chg="add mod">
          <ac:chgData name="Rashi bhardwaj" userId="a8ce0118b50dbc10" providerId="LiveId" clId="{E5E46110-B667-4E78-A35A-CC3AFDB851F9}" dt="2024-11-19T20:10:27.381" v="4263" actId="1036"/>
          <ac:picMkLst>
            <pc:docMk/>
            <pc:sldMk cId="726225029" sldId="272"/>
            <ac:picMk id="21" creationId="{C9A4D185-7F6B-4964-6E31-B35F277343C1}"/>
          </ac:picMkLst>
        </pc:picChg>
        <pc:picChg chg="add mod">
          <ac:chgData name="Rashi bhardwaj" userId="a8ce0118b50dbc10" providerId="LiveId" clId="{E5E46110-B667-4E78-A35A-CC3AFDB851F9}" dt="2024-11-19T18:55:51.564" v="2108" actId="1076"/>
          <ac:picMkLst>
            <pc:docMk/>
            <pc:sldMk cId="726225029" sldId="272"/>
            <ac:picMk id="37" creationId="{DC178E43-294C-52CB-B3B6-86D391696E21}"/>
          </ac:picMkLst>
        </pc:picChg>
        <pc:picChg chg="add mod">
          <ac:chgData name="Rashi bhardwaj" userId="a8ce0118b50dbc10" providerId="LiveId" clId="{E5E46110-B667-4E78-A35A-CC3AFDB851F9}" dt="2024-11-19T19:03:18.267" v="2302" actId="1035"/>
          <ac:picMkLst>
            <pc:docMk/>
            <pc:sldMk cId="726225029" sldId="272"/>
            <ac:picMk id="41" creationId="{296A4A44-B675-34CD-CAE1-C46C065CD2D0}"/>
          </ac:picMkLst>
        </pc:picChg>
        <pc:picChg chg="add mod">
          <ac:chgData name="Rashi bhardwaj" userId="a8ce0118b50dbc10" providerId="LiveId" clId="{E5E46110-B667-4E78-A35A-CC3AFDB851F9}" dt="2024-11-19T19:03:25.413" v="2307" actId="1035"/>
          <ac:picMkLst>
            <pc:docMk/>
            <pc:sldMk cId="726225029" sldId="272"/>
            <ac:picMk id="44" creationId="{64DAD126-2C0F-E47D-6793-92EE544DF92C}"/>
          </ac:picMkLst>
        </pc:picChg>
        <pc:picChg chg="add mod">
          <ac:chgData name="Rashi bhardwaj" userId="a8ce0118b50dbc10" providerId="LiveId" clId="{E5E46110-B667-4E78-A35A-CC3AFDB851F9}" dt="2024-11-19T19:03:40.496" v="2309" actId="1076"/>
          <ac:picMkLst>
            <pc:docMk/>
            <pc:sldMk cId="726225029" sldId="272"/>
            <ac:picMk id="47" creationId="{120206A7-4449-CC8A-EE68-EF80DC9567A6}"/>
          </ac:picMkLst>
        </pc:picChg>
        <pc:picChg chg="add mod">
          <ac:chgData name="Rashi bhardwaj" userId="a8ce0118b50dbc10" providerId="LiveId" clId="{E5E46110-B667-4E78-A35A-CC3AFDB851F9}" dt="2024-11-19T19:07:06.632" v="2477" actId="1035"/>
          <ac:picMkLst>
            <pc:docMk/>
            <pc:sldMk cId="726225029" sldId="272"/>
            <ac:picMk id="50" creationId="{078413E7-69EB-71A1-057E-FC2290912520}"/>
          </ac:picMkLst>
        </pc:picChg>
        <pc:picChg chg="mod">
          <ac:chgData name="Rashi bhardwaj" userId="a8ce0118b50dbc10" providerId="LiveId" clId="{E5E46110-B667-4E78-A35A-CC3AFDB851F9}" dt="2024-11-20T18:00:44.900" v="6124" actId="1076"/>
          <ac:picMkLst>
            <pc:docMk/>
            <pc:sldMk cId="726225029" sldId="272"/>
            <ac:picMk id="64" creationId="{71F1B94E-F3FD-4AB9-00A4-056A2E7DAD90}"/>
          </ac:picMkLst>
        </pc:picChg>
        <pc:picChg chg="mod">
          <ac:chgData name="Rashi bhardwaj" userId="a8ce0118b50dbc10" providerId="LiveId" clId="{E5E46110-B667-4E78-A35A-CC3AFDB851F9}" dt="2024-11-20T18:01:27.503" v="6142" actId="1037"/>
          <ac:picMkLst>
            <pc:docMk/>
            <pc:sldMk cId="726225029" sldId="272"/>
            <ac:picMk id="69" creationId="{5CBFAAE1-EB5D-C2FC-1FCE-9C0E65A66555}"/>
          </ac:picMkLst>
        </pc:picChg>
        <pc:picChg chg="add mod">
          <ac:chgData name="Rashi bhardwaj" userId="a8ce0118b50dbc10" providerId="LiveId" clId="{E5E46110-B667-4E78-A35A-CC3AFDB851F9}" dt="2024-11-19T20:29:40.458" v="4515" actId="1037"/>
          <ac:picMkLst>
            <pc:docMk/>
            <pc:sldMk cId="726225029" sldId="272"/>
            <ac:picMk id="89" creationId="{5875BE22-C455-22D7-A9C0-42616772272D}"/>
          </ac:picMkLst>
        </pc:picChg>
        <pc:picChg chg="add mod">
          <ac:chgData name="Rashi bhardwaj" userId="a8ce0118b50dbc10" providerId="LiveId" clId="{E5E46110-B667-4E78-A35A-CC3AFDB851F9}" dt="2024-11-19T20:29:19.682" v="4512" actId="1038"/>
          <ac:picMkLst>
            <pc:docMk/>
            <pc:sldMk cId="726225029" sldId="272"/>
            <ac:picMk id="93" creationId="{E0FF46DD-D509-183E-BBE7-90D4151227EC}"/>
          </ac:picMkLst>
        </pc:picChg>
        <pc:picChg chg="add mod">
          <ac:chgData name="Rashi bhardwaj" userId="a8ce0118b50dbc10" providerId="LiveId" clId="{E5E46110-B667-4E78-A35A-CC3AFDB851F9}" dt="2024-11-20T06:49:09.078" v="4775" actId="1076"/>
          <ac:picMkLst>
            <pc:docMk/>
            <pc:sldMk cId="726225029" sldId="272"/>
            <ac:picMk id="1026" creationId="{161F44B3-85D2-F89A-70C5-0F2959317E59}"/>
          </ac:picMkLst>
        </pc:picChg>
        <pc:picChg chg="add mod">
          <ac:chgData name="Rashi bhardwaj" userId="a8ce0118b50dbc10" providerId="LiveId" clId="{E5E46110-B667-4E78-A35A-CC3AFDB851F9}" dt="2024-11-19T18:43:31.716" v="1767" actId="1076"/>
          <ac:picMkLst>
            <pc:docMk/>
            <pc:sldMk cId="726225029" sldId="272"/>
            <ac:picMk id="1028" creationId="{CEF83F0C-C5D2-FAB7-8FFB-8F90C033FA11}"/>
          </ac:picMkLst>
        </pc:picChg>
        <pc:cxnChg chg="add mod">
          <ac:chgData name="Rashi bhardwaj" userId="a8ce0118b50dbc10" providerId="LiveId" clId="{E5E46110-B667-4E78-A35A-CC3AFDB851F9}" dt="2024-11-21T10:09:05.887" v="10970" actId="1037"/>
          <ac:cxnSpMkLst>
            <pc:docMk/>
            <pc:sldMk cId="726225029" sldId="272"/>
            <ac:cxnSpMk id="7" creationId="{E0B33F26-1B61-51B0-2CE2-1B4BF45047F6}"/>
          </ac:cxnSpMkLst>
        </pc:cxnChg>
        <pc:cxnChg chg="add mod">
          <ac:chgData name="Rashi bhardwaj" userId="a8ce0118b50dbc10" providerId="LiveId" clId="{E5E46110-B667-4E78-A35A-CC3AFDB851F9}" dt="2024-11-21T10:12:42.881" v="11125"/>
          <ac:cxnSpMkLst>
            <pc:docMk/>
            <pc:sldMk cId="726225029" sldId="272"/>
            <ac:cxnSpMk id="8" creationId="{22EF31D9-A443-12FB-B0A0-68A220A6C1AE}"/>
          </ac:cxnSpMkLst>
        </pc:cxnChg>
        <pc:cxnChg chg="add mod">
          <ac:chgData name="Rashi bhardwaj" userId="a8ce0118b50dbc10" providerId="LiveId" clId="{E5E46110-B667-4E78-A35A-CC3AFDB851F9}" dt="2024-11-21T10:15:40.072" v="11156"/>
          <ac:cxnSpMkLst>
            <pc:docMk/>
            <pc:sldMk cId="726225029" sldId="272"/>
            <ac:cxnSpMk id="9" creationId="{EB5629D9-05E4-7470-6329-49A97F682A5E}"/>
          </ac:cxnSpMkLst>
        </pc:cxnChg>
        <pc:cxnChg chg="add mod">
          <ac:chgData name="Rashi bhardwaj" userId="a8ce0118b50dbc10" providerId="LiveId" clId="{E5E46110-B667-4E78-A35A-CC3AFDB851F9}" dt="2024-11-19T20:10:54.391" v="4282" actId="1035"/>
          <ac:cxnSpMkLst>
            <pc:docMk/>
            <pc:sldMk cId="726225029" sldId="272"/>
            <ac:cxnSpMk id="17" creationId="{C4E79BB2-3B50-003F-9B7A-FDB35215ADE3}"/>
          </ac:cxnSpMkLst>
        </pc:cxnChg>
        <pc:cxnChg chg="add mod">
          <ac:chgData name="Rashi bhardwaj" userId="a8ce0118b50dbc10" providerId="LiveId" clId="{E5E46110-B667-4E78-A35A-CC3AFDB851F9}" dt="2024-11-19T18:21:06.686" v="1269" actId="14100"/>
          <ac:cxnSpMkLst>
            <pc:docMk/>
            <pc:sldMk cId="726225029" sldId="272"/>
            <ac:cxnSpMk id="23" creationId="{F2DD23F4-8FBE-BB89-FDE7-B4F3329140F6}"/>
          </ac:cxnSpMkLst>
        </pc:cxnChg>
        <pc:cxnChg chg="add mod">
          <ac:chgData name="Rashi bhardwaj" userId="a8ce0118b50dbc10" providerId="LiveId" clId="{E5E46110-B667-4E78-A35A-CC3AFDB851F9}" dt="2024-11-19T19:08:00.159" v="2481" actId="14100"/>
          <ac:cxnSpMkLst>
            <pc:docMk/>
            <pc:sldMk cId="726225029" sldId="272"/>
            <ac:cxnSpMk id="52" creationId="{4B355AA0-80A2-999C-6A8B-80BAC6F53E16}"/>
          </ac:cxnSpMkLst>
        </pc:cxnChg>
        <pc:cxnChg chg="add mod">
          <ac:chgData name="Rashi bhardwaj" userId="a8ce0118b50dbc10" providerId="LiveId" clId="{E5E46110-B667-4E78-A35A-CC3AFDB851F9}" dt="2024-11-19T19:29:18.691" v="2924" actId="1037"/>
          <ac:cxnSpMkLst>
            <pc:docMk/>
            <pc:sldMk cId="726225029" sldId="272"/>
            <ac:cxnSpMk id="55" creationId="{F4D658B4-197E-A386-CC0E-9105CE53F63C}"/>
          </ac:cxnSpMkLst>
        </pc:cxnChg>
        <pc:cxnChg chg="add mod">
          <ac:chgData name="Rashi bhardwaj" userId="a8ce0118b50dbc10" providerId="LiveId" clId="{E5E46110-B667-4E78-A35A-CC3AFDB851F9}" dt="2024-11-20T20:24:25.403" v="9372" actId="1076"/>
          <ac:cxnSpMkLst>
            <pc:docMk/>
            <pc:sldMk cId="726225029" sldId="272"/>
            <ac:cxnSpMk id="63" creationId="{93C9DE9E-BAD1-AF66-F051-41863DB62193}"/>
          </ac:cxnSpMkLst>
        </pc:cxnChg>
        <pc:cxnChg chg="add mod">
          <ac:chgData name="Rashi bhardwaj" userId="a8ce0118b50dbc10" providerId="LiveId" clId="{E5E46110-B667-4E78-A35A-CC3AFDB851F9}" dt="2024-11-19T19:56:44.123" v="4041" actId="14100"/>
          <ac:cxnSpMkLst>
            <pc:docMk/>
            <pc:sldMk cId="726225029" sldId="272"/>
            <ac:cxnSpMk id="75" creationId="{420C3F70-8D49-59E8-98A2-0FD1BB43B775}"/>
          </ac:cxnSpMkLst>
        </pc:cxnChg>
      </pc:sldChg>
      <pc:sldChg chg="addSp delSp modSp mod">
        <pc:chgData name="Rashi bhardwaj" userId="a8ce0118b50dbc10" providerId="LiveId" clId="{E5E46110-B667-4E78-A35A-CC3AFDB851F9}" dt="2024-11-21T10:15:43.996" v="11157"/>
        <pc:sldMkLst>
          <pc:docMk/>
          <pc:sldMk cId="1708707165" sldId="273"/>
        </pc:sldMkLst>
        <pc:spChg chg="add del mod">
          <ac:chgData name="Rashi bhardwaj" userId="a8ce0118b50dbc10" providerId="LiveId" clId="{E5E46110-B667-4E78-A35A-CC3AFDB851F9}" dt="2024-11-20T19:58:42.719" v="8671" actId="478"/>
          <ac:spMkLst>
            <pc:docMk/>
            <pc:sldMk cId="1708707165" sldId="273"/>
            <ac:spMk id="2" creationId="{56B4DFA4-7B3E-B2C3-2E0F-5E06FC14B1D6}"/>
          </ac:spMkLst>
        </pc:spChg>
        <pc:spChg chg="mod">
          <ac:chgData name="Rashi bhardwaj" userId="a8ce0118b50dbc10" providerId="LiveId" clId="{E5E46110-B667-4E78-A35A-CC3AFDB851F9}" dt="2024-11-20T19:23:19.940" v="7434" actId="1037"/>
          <ac:spMkLst>
            <pc:docMk/>
            <pc:sldMk cId="1708707165" sldId="273"/>
            <ac:spMk id="3" creationId="{397E4B12-8CC5-EF20-CF15-3AF586F4CF7D}"/>
          </ac:spMkLst>
        </pc:spChg>
        <pc:spChg chg="add del mod">
          <ac:chgData name="Rashi bhardwaj" userId="a8ce0118b50dbc10" providerId="LiveId" clId="{E5E46110-B667-4E78-A35A-CC3AFDB851F9}" dt="2024-11-20T20:00:02.038" v="8780" actId="478"/>
          <ac:spMkLst>
            <pc:docMk/>
            <pc:sldMk cId="1708707165" sldId="273"/>
            <ac:spMk id="4" creationId="{56628B15-FB18-1D91-6FEF-54BC5DF317B1}"/>
          </ac:spMkLst>
        </pc:spChg>
        <pc:spChg chg="mod ord">
          <ac:chgData name="Rashi bhardwaj" userId="a8ce0118b50dbc10" providerId="LiveId" clId="{E5E46110-B667-4E78-A35A-CC3AFDB851F9}" dt="2024-11-20T19:30:40.269" v="7697" actId="1038"/>
          <ac:spMkLst>
            <pc:docMk/>
            <pc:sldMk cId="1708707165" sldId="273"/>
            <ac:spMk id="6" creationId="{F6D1FCFC-D949-6A51-A0C1-7681F1CE5E44}"/>
          </ac:spMkLst>
        </pc:spChg>
        <pc:spChg chg="add mod">
          <ac:chgData name="Rashi bhardwaj" userId="a8ce0118b50dbc10" providerId="LiveId" clId="{E5E46110-B667-4E78-A35A-CC3AFDB851F9}" dt="2024-11-20T19:31:39.523" v="7749" actId="1038"/>
          <ac:spMkLst>
            <pc:docMk/>
            <pc:sldMk cId="1708707165" sldId="273"/>
            <ac:spMk id="12" creationId="{D61259D9-2F50-D704-1FB6-B41DC883280E}"/>
          </ac:spMkLst>
        </pc:spChg>
        <pc:spChg chg="add del mod">
          <ac:chgData name="Rashi bhardwaj" userId="a8ce0118b50dbc10" providerId="LiveId" clId="{E5E46110-B667-4E78-A35A-CC3AFDB851F9}" dt="2024-11-20T19:31:07.210" v="7725" actId="478"/>
          <ac:spMkLst>
            <pc:docMk/>
            <pc:sldMk cId="1708707165" sldId="273"/>
            <ac:spMk id="19" creationId="{F43EB960-17BD-9CED-CFFC-5FD0D72E168E}"/>
          </ac:spMkLst>
        </pc:spChg>
        <pc:spChg chg="add mod">
          <ac:chgData name="Rashi bhardwaj" userId="a8ce0118b50dbc10" providerId="LiveId" clId="{E5E46110-B667-4E78-A35A-CC3AFDB851F9}" dt="2024-11-20T19:57:53.778" v="8664"/>
          <ac:spMkLst>
            <pc:docMk/>
            <pc:sldMk cId="1708707165" sldId="273"/>
            <ac:spMk id="22" creationId="{F5335FF1-3CDA-7203-AD06-CE8AB1D004E1}"/>
          </ac:spMkLst>
        </pc:spChg>
        <pc:spChg chg="add del mod">
          <ac:chgData name="Rashi bhardwaj" userId="a8ce0118b50dbc10" providerId="LiveId" clId="{E5E46110-B667-4E78-A35A-CC3AFDB851F9}" dt="2024-11-20T19:58:25.249" v="8666" actId="478"/>
          <ac:spMkLst>
            <pc:docMk/>
            <pc:sldMk cId="1708707165" sldId="273"/>
            <ac:spMk id="23" creationId="{F2F4D8CF-7ABC-B94A-2B0A-256BDE54B5B0}"/>
          </ac:spMkLst>
        </pc:spChg>
        <pc:spChg chg="add mod">
          <ac:chgData name="Rashi bhardwaj" userId="a8ce0118b50dbc10" providerId="LiveId" clId="{E5E46110-B667-4E78-A35A-CC3AFDB851F9}" dt="2024-11-20T19:59:17.256" v="8772"/>
          <ac:spMkLst>
            <pc:docMk/>
            <pc:sldMk cId="1708707165" sldId="273"/>
            <ac:spMk id="27" creationId="{B9B8AB18-01EB-59E7-A2FF-D70E1616EC1D}"/>
          </ac:spMkLst>
        </pc:spChg>
        <pc:spChg chg="add mod">
          <ac:chgData name="Rashi bhardwaj" userId="a8ce0118b50dbc10" providerId="LiveId" clId="{E5E46110-B667-4E78-A35A-CC3AFDB851F9}" dt="2024-11-20T20:11:14.435" v="8888"/>
          <ac:spMkLst>
            <pc:docMk/>
            <pc:sldMk cId="1708707165" sldId="273"/>
            <ac:spMk id="32" creationId="{2B7FB642-D2C5-50E2-E2E9-5A24ED7E155E}"/>
          </ac:spMkLst>
        </pc:spChg>
        <pc:spChg chg="add mod">
          <ac:chgData name="Rashi bhardwaj" userId="a8ce0118b50dbc10" providerId="LiveId" clId="{E5E46110-B667-4E78-A35A-CC3AFDB851F9}" dt="2024-11-20T20:14:06.302" v="8905"/>
          <ac:spMkLst>
            <pc:docMk/>
            <pc:sldMk cId="1708707165" sldId="273"/>
            <ac:spMk id="33" creationId="{85E02E9F-DCFA-4FFB-7C5C-6A56CE48DC12}"/>
          </ac:spMkLst>
        </pc:spChg>
        <pc:spChg chg="add mod">
          <ac:chgData name="Rashi bhardwaj" userId="a8ce0118b50dbc10" providerId="LiveId" clId="{E5E46110-B667-4E78-A35A-CC3AFDB851F9}" dt="2024-11-20T20:21:27.949" v="9364" actId="1035"/>
          <ac:spMkLst>
            <pc:docMk/>
            <pc:sldMk cId="1708707165" sldId="273"/>
            <ac:spMk id="36" creationId="{BFFFB48E-8FB8-291C-1363-03F58C4D8074}"/>
          </ac:spMkLst>
        </pc:spChg>
        <pc:spChg chg="add mod">
          <ac:chgData name="Rashi bhardwaj" userId="a8ce0118b50dbc10" providerId="LiveId" clId="{E5E46110-B667-4E78-A35A-CC3AFDB851F9}" dt="2024-11-20T20:25:34.693" v="9549" actId="20577"/>
          <ac:spMkLst>
            <pc:docMk/>
            <pc:sldMk cId="1708707165" sldId="273"/>
            <ac:spMk id="37" creationId="{B24812CD-BFFD-7BBD-1F61-79A4AAB47A2D}"/>
          </ac:spMkLst>
        </pc:spChg>
        <pc:spChg chg="add mod">
          <ac:chgData name="Rashi bhardwaj" userId="a8ce0118b50dbc10" providerId="LiveId" clId="{E5E46110-B667-4E78-A35A-CC3AFDB851F9}" dt="2024-11-20T20:14:06.302" v="8905"/>
          <ac:spMkLst>
            <pc:docMk/>
            <pc:sldMk cId="1708707165" sldId="273"/>
            <ac:spMk id="38" creationId="{66BB4722-2EED-7053-E170-DACBCA87A0A1}"/>
          </ac:spMkLst>
        </pc:spChg>
        <pc:spChg chg="add mod">
          <ac:chgData name="Rashi bhardwaj" userId="a8ce0118b50dbc10" providerId="LiveId" clId="{E5E46110-B667-4E78-A35A-CC3AFDB851F9}" dt="2024-11-20T20:21:12.042" v="9361" actId="1038"/>
          <ac:spMkLst>
            <pc:docMk/>
            <pc:sldMk cId="1708707165" sldId="273"/>
            <ac:spMk id="39" creationId="{AFECF4A8-3B36-79C8-BF29-F8E1F71936F5}"/>
          </ac:spMkLst>
        </pc:spChg>
        <pc:spChg chg="add mod">
          <ac:chgData name="Rashi bhardwaj" userId="a8ce0118b50dbc10" providerId="LiveId" clId="{E5E46110-B667-4E78-A35A-CC3AFDB851F9}" dt="2024-11-20T20:14:06.302" v="8905"/>
          <ac:spMkLst>
            <pc:docMk/>
            <pc:sldMk cId="1708707165" sldId="273"/>
            <ac:spMk id="41" creationId="{A67CFCE4-9103-D450-0340-E3538EE8FFBF}"/>
          </ac:spMkLst>
        </pc:spChg>
        <pc:spChg chg="add mod">
          <ac:chgData name="Rashi bhardwaj" userId="a8ce0118b50dbc10" providerId="LiveId" clId="{E5E46110-B667-4E78-A35A-CC3AFDB851F9}" dt="2024-11-20T20:14:06.302" v="8905"/>
          <ac:spMkLst>
            <pc:docMk/>
            <pc:sldMk cId="1708707165" sldId="273"/>
            <ac:spMk id="42" creationId="{A2788E29-439C-CA43-438B-B97D859FFBE9}"/>
          </ac:spMkLst>
        </pc:spChg>
        <pc:spChg chg="add mod">
          <ac:chgData name="Rashi bhardwaj" userId="a8ce0118b50dbc10" providerId="LiveId" clId="{E5E46110-B667-4E78-A35A-CC3AFDB851F9}" dt="2024-11-20T20:21:17.020" v="9362" actId="207"/>
          <ac:spMkLst>
            <pc:docMk/>
            <pc:sldMk cId="1708707165" sldId="273"/>
            <ac:spMk id="43" creationId="{505F3674-3F76-DEBB-6664-C2E0F7BAD95B}"/>
          </ac:spMkLst>
        </pc:spChg>
        <pc:spChg chg="del mod">
          <ac:chgData name="Rashi bhardwaj" userId="a8ce0118b50dbc10" providerId="LiveId" clId="{E5E46110-B667-4E78-A35A-CC3AFDB851F9}" dt="2024-11-20T19:29:55.975" v="7685" actId="478"/>
          <ac:spMkLst>
            <pc:docMk/>
            <pc:sldMk cId="1708707165" sldId="273"/>
            <ac:spMk id="45" creationId="{1868579C-3E57-9CD5-FFA4-918635983B8D}"/>
          </ac:spMkLst>
        </pc:spChg>
        <pc:spChg chg="mod">
          <ac:chgData name="Rashi bhardwaj" userId="a8ce0118b50dbc10" providerId="LiveId" clId="{E5E46110-B667-4E78-A35A-CC3AFDB851F9}" dt="2024-11-21T09:12:04.180" v="9723" actId="403"/>
          <ac:spMkLst>
            <pc:docMk/>
            <pc:sldMk cId="1708707165" sldId="273"/>
            <ac:spMk id="47" creationId="{13D58906-527F-33D0-1C03-4BA33468A0F7}"/>
          </ac:spMkLst>
        </pc:spChg>
        <pc:spChg chg="add mod">
          <ac:chgData name="Rashi bhardwaj" userId="a8ce0118b50dbc10" providerId="LiveId" clId="{E5E46110-B667-4E78-A35A-CC3AFDB851F9}" dt="2024-11-20T20:14:06.302" v="8905"/>
          <ac:spMkLst>
            <pc:docMk/>
            <pc:sldMk cId="1708707165" sldId="273"/>
            <ac:spMk id="49" creationId="{45D0B3E1-BD11-9843-D60B-C5CADF05094F}"/>
          </ac:spMkLst>
        </pc:spChg>
        <pc:spChg chg="add mod">
          <ac:chgData name="Rashi bhardwaj" userId="a8ce0118b50dbc10" providerId="LiveId" clId="{E5E46110-B667-4E78-A35A-CC3AFDB851F9}" dt="2024-11-20T20:21:22.991" v="9363" actId="207"/>
          <ac:spMkLst>
            <pc:docMk/>
            <pc:sldMk cId="1708707165" sldId="273"/>
            <ac:spMk id="50" creationId="{69B85F6B-A67F-53B8-115E-373DE9484319}"/>
          </ac:spMkLst>
        </pc:spChg>
        <pc:spChg chg="mod">
          <ac:chgData name="Rashi bhardwaj" userId="a8ce0118b50dbc10" providerId="LiveId" clId="{E5E46110-B667-4E78-A35A-CC3AFDB851F9}" dt="2024-11-21T09:12:08.636" v="9724" actId="403"/>
          <ac:spMkLst>
            <pc:docMk/>
            <pc:sldMk cId="1708707165" sldId="273"/>
            <ac:spMk id="51" creationId="{99A73D08-8167-8DB1-BC5C-716E22CD14F3}"/>
          </ac:spMkLst>
        </pc:spChg>
        <pc:spChg chg="add mod">
          <ac:chgData name="Rashi bhardwaj" userId="a8ce0118b50dbc10" providerId="LiveId" clId="{E5E46110-B667-4E78-A35A-CC3AFDB851F9}" dt="2024-11-20T20:14:06.302" v="8905"/>
          <ac:spMkLst>
            <pc:docMk/>
            <pc:sldMk cId="1708707165" sldId="273"/>
            <ac:spMk id="52" creationId="{FDD915D1-EF8E-6E92-8626-38E258C2CB54}"/>
          </ac:spMkLst>
        </pc:spChg>
        <pc:spChg chg="add mod">
          <ac:chgData name="Rashi bhardwaj" userId="a8ce0118b50dbc10" providerId="LiveId" clId="{E5E46110-B667-4E78-A35A-CC3AFDB851F9}" dt="2024-11-20T20:14:06.302" v="8905"/>
          <ac:spMkLst>
            <pc:docMk/>
            <pc:sldMk cId="1708707165" sldId="273"/>
            <ac:spMk id="55" creationId="{A5DD98C6-D8C4-9D50-6DA3-83D6BBD8FFFF}"/>
          </ac:spMkLst>
        </pc:spChg>
        <pc:spChg chg="mod">
          <ac:chgData name="Rashi bhardwaj" userId="a8ce0118b50dbc10" providerId="LiveId" clId="{E5E46110-B667-4E78-A35A-CC3AFDB851F9}" dt="2024-11-20T19:24:32.228" v="7496" actId="1038"/>
          <ac:spMkLst>
            <pc:docMk/>
            <pc:sldMk cId="1708707165" sldId="273"/>
            <ac:spMk id="61" creationId="{4F8A1AA9-1F55-2FEB-4A02-600B4DBCA676}"/>
          </ac:spMkLst>
        </pc:spChg>
        <pc:picChg chg="del">
          <ac:chgData name="Rashi bhardwaj" userId="a8ce0118b50dbc10" providerId="LiveId" clId="{E5E46110-B667-4E78-A35A-CC3AFDB851F9}" dt="2024-11-20T19:21:55.675" v="7415" actId="478"/>
          <ac:picMkLst>
            <pc:docMk/>
            <pc:sldMk cId="1708707165" sldId="273"/>
            <ac:picMk id="10" creationId="{B3A7D0CF-3C22-1AAD-0040-501976358F04}"/>
          </ac:picMkLst>
        </pc:picChg>
        <pc:picChg chg="del">
          <ac:chgData name="Rashi bhardwaj" userId="a8ce0118b50dbc10" providerId="LiveId" clId="{E5E46110-B667-4E78-A35A-CC3AFDB851F9}" dt="2024-11-20T19:22:27.356" v="7419" actId="478"/>
          <ac:picMkLst>
            <pc:docMk/>
            <pc:sldMk cId="1708707165" sldId="273"/>
            <ac:picMk id="35" creationId="{8803360A-5CB8-F2E0-5613-36FCE9B26638}"/>
          </ac:picMkLst>
        </pc:picChg>
        <pc:picChg chg="del">
          <ac:chgData name="Rashi bhardwaj" userId="a8ce0118b50dbc10" providerId="LiveId" clId="{E5E46110-B667-4E78-A35A-CC3AFDB851F9}" dt="2024-11-20T19:22:24.900" v="7418" actId="478"/>
          <ac:picMkLst>
            <pc:docMk/>
            <pc:sldMk cId="1708707165" sldId="273"/>
            <ac:picMk id="1024" creationId="{C0156587-721B-C417-6170-DB7B605B81D8}"/>
          </ac:picMkLst>
        </pc:picChg>
        <pc:picChg chg="del mod">
          <ac:chgData name="Rashi bhardwaj" userId="a8ce0118b50dbc10" providerId="LiveId" clId="{E5E46110-B667-4E78-A35A-CC3AFDB851F9}" dt="2024-11-20T19:22:22.685" v="7417" actId="478"/>
          <ac:picMkLst>
            <pc:docMk/>
            <pc:sldMk cId="1708707165" sldId="273"/>
            <ac:picMk id="1060" creationId="{BFBEEA9E-B420-4A62-6D02-4DFC59F5DBE3}"/>
          </ac:picMkLst>
        </pc:picChg>
        <pc:picChg chg="mod">
          <ac:chgData name="Rashi bhardwaj" userId="a8ce0118b50dbc10" providerId="LiveId" clId="{E5E46110-B667-4E78-A35A-CC3AFDB851F9}" dt="2024-11-20T20:09:01.117" v="8872" actId="14100"/>
          <ac:picMkLst>
            <pc:docMk/>
            <pc:sldMk cId="1708707165" sldId="273"/>
            <ac:picMk id="1195" creationId="{9A220501-1012-5C6B-F2D2-A2E6DCF84CB4}"/>
          </ac:picMkLst>
        </pc:picChg>
        <pc:cxnChg chg="add mod">
          <ac:chgData name="Rashi bhardwaj" userId="a8ce0118b50dbc10" providerId="LiveId" clId="{E5E46110-B667-4E78-A35A-CC3AFDB851F9}" dt="2024-11-21T10:09:34.155" v="10973"/>
          <ac:cxnSpMkLst>
            <pc:docMk/>
            <pc:sldMk cId="1708707165" sldId="273"/>
            <ac:cxnSpMk id="2" creationId="{CAB8B75E-7690-D6EB-A3C0-8406C6E990EB}"/>
          </ac:cxnSpMkLst>
        </pc:cxnChg>
        <pc:cxnChg chg="add mod">
          <ac:chgData name="Rashi bhardwaj" userId="a8ce0118b50dbc10" providerId="LiveId" clId="{E5E46110-B667-4E78-A35A-CC3AFDB851F9}" dt="2024-11-21T10:12:49.012" v="11127"/>
          <ac:cxnSpMkLst>
            <pc:docMk/>
            <pc:sldMk cId="1708707165" sldId="273"/>
            <ac:cxnSpMk id="4" creationId="{966DCF14-AFEE-3D93-0E41-0EFFD50E1139}"/>
          </ac:cxnSpMkLst>
        </pc:cxnChg>
        <pc:cxnChg chg="mod">
          <ac:chgData name="Rashi bhardwaj" userId="a8ce0118b50dbc10" providerId="LiveId" clId="{E5E46110-B667-4E78-A35A-CC3AFDB851F9}" dt="2024-11-20T19:27:19.259" v="7646" actId="14100"/>
          <ac:cxnSpMkLst>
            <pc:docMk/>
            <pc:sldMk cId="1708707165" sldId="273"/>
            <ac:cxnSpMk id="5" creationId="{79816469-64A9-CD5E-23D2-BA235C752B62}"/>
          </ac:cxnSpMkLst>
        </pc:cxnChg>
        <pc:cxnChg chg="add mod">
          <ac:chgData name="Rashi bhardwaj" userId="a8ce0118b50dbc10" providerId="LiveId" clId="{E5E46110-B667-4E78-A35A-CC3AFDB851F9}" dt="2024-11-21T10:15:43.996" v="11157"/>
          <ac:cxnSpMkLst>
            <pc:docMk/>
            <pc:sldMk cId="1708707165" sldId="273"/>
            <ac:cxnSpMk id="7" creationId="{CA4F0942-FEC5-62C3-F8E3-EBF2BBDCBB14}"/>
          </ac:cxnSpMkLst>
        </pc:cxnChg>
        <pc:cxnChg chg="add mod">
          <ac:chgData name="Rashi bhardwaj" userId="a8ce0118b50dbc10" providerId="LiveId" clId="{E5E46110-B667-4E78-A35A-CC3AFDB851F9}" dt="2024-11-20T20:14:06.302" v="8905"/>
          <ac:cxnSpMkLst>
            <pc:docMk/>
            <pc:sldMk cId="1708707165" sldId="273"/>
            <ac:cxnSpMk id="58" creationId="{A301326B-46A7-8233-1D0B-3895B8431B2A}"/>
          </ac:cxnSpMkLst>
        </pc:cxnChg>
      </pc:sldChg>
      <pc:sldChg chg="addSp modSp mod">
        <pc:chgData name="Rashi bhardwaj" userId="a8ce0118b50dbc10" providerId="LiveId" clId="{E5E46110-B667-4E78-A35A-CC3AFDB851F9}" dt="2024-11-21T10:15:56.208" v="11161"/>
        <pc:sldMkLst>
          <pc:docMk/>
          <pc:sldMk cId="4249004664" sldId="275"/>
        </pc:sldMkLst>
        <pc:spChg chg="mod">
          <ac:chgData name="Rashi bhardwaj" userId="a8ce0118b50dbc10" providerId="LiveId" clId="{E5E46110-B667-4E78-A35A-CC3AFDB851F9}" dt="2024-11-20T20:16:47.150" v="8922" actId="1037"/>
          <ac:spMkLst>
            <pc:docMk/>
            <pc:sldMk cId="4249004664" sldId="275"/>
            <ac:spMk id="82" creationId="{EEE97C47-2557-09FF-9504-E5AA5E89D372}"/>
          </ac:spMkLst>
        </pc:spChg>
        <pc:cxnChg chg="add mod">
          <ac:chgData name="Rashi bhardwaj" userId="a8ce0118b50dbc10" providerId="LiveId" clId="{E5E46110-B667-4E78-A35A-CC3AFDB851F9}" dt="2024-11-21T10:09:52.844" v="10977"/>
          <ac:cxnSpMkLst>
            <pc:docMk/>
            <pc:sldMk cId="4249004664" sldId="275"/>
            <ac:cxnSpMk id="3" creationId="{C1630268-5D51-30B0-E665-97A03A5242F4}"/>
          </ac:cxnSpMkLst>
        </pc:cxnChg>
        <pc:cxnChg chg="add mod">
          <ac:chgData name="Rashi bhardwaj" userId="a8ce0118b50dbc10" providerId="LiveId" clId="{E5E46110-B667-4E78-A35A-CC3AFDB851F9}" dt="2024-11-21T10:13:02.037" v="11131"/>
          <ac:cxnSpMkLst>
            <pc:docMk/>
            <pc:sldMk cId="4249004664" sldId="275"/>
            <ac:cxnSpMk id="5" creationId="{A1DBCD07-7418-9C76-86C3-59493FFDEE87}"/>
          </ac:cxnSpMkLst>
        </pc:cxnChg>
        <pc:cxnChg chg="add mod">
          <ac:chgData name="Rashi bhardwaj" userId="a8ce0118b50dbc10" providerId="LiveId" clId="{E5E46110-B667-4E78-A35A-CC3AFDB851F9}" dt="2024-11-21T10:15:56.208" v="11161"/>
          <ac:cxnSpMkLst>
            <pc:docMk/>
            <pc:sldMk cId="4249004664" sldId="275"/>
            <ac:cxnSpMk id="7" creationId="{64B44786-F8DD-2D24-ED3D-C8F5E1234D09}"/>
          </ac:cxnSpMkLst>
        </pc:cxnChg>
      </pc:sldChg>
      <pc:sldChg chg="addSp delSp modSp mod">
        <pc:chgData name="Rashi bhardwaj" userId="a8ce0118b50dbc10" providerId="LiveId" clId="{E5E46110-B667-4E78-A35A-CC3AFDB851F9}" dt="2024-11-21T10:22:48.617" v="11190" actId="1036"/>
        <pc:sldMkLst>
          <pc:docMk/>
          <pc:sldMk cId="4227830934" sldId="278"/>
        </pc:sldMkLst>
        <pc:spChg chg="mod">
          <ac:chgData name="Rashi bhardwaj" userId="a8ce0118b50dbc10" providerId="LiveId" clId="{E5E46110-B667-4E78-A35A-CC3AFDB851F9}" dt="2024-11-21T10:22:48.617" v="11190" actId="1036"/>
          <ac:spMkLst>
            <pc:docMk/>
            <pc:sldMk cId="4227830934" sldId="278"/>
            <ac:spMk id="2" creationId="{95FD26A8-3183-502B-2076-DF97757DF22F}"/>
          </ac:spMkLst>
        </pc:spChg>
        <pc:spChg chg="add mod">
          <ac:chgData name="Rashi bhardwaj" userId="a8ce0118b50dbc10" providerId="LiveId" clId="{E5E46110-B667-4E78-A35A-CC3AFDB851F9}" dt="2024-11-20T20:11:19.258" v="8889"/>
          <ac:spMkLst>
            <pc:docMk/>
            <pc:sldMk cId="4227830934" sldId="278"/>
            <ac:spMk id="3" creationId="{D79D0F4D-D443-1A27-CEFB-ADC5CC3E53BA}"/>
          </ac:spMkLst>
        </pc:spChg>
        <pc:spChg chg="mod">
          <ac:chgData name="Rashi bhardwaj" userId="a8ce0118b50dbc10" providerId="LiveId" clId="{E5E46110-B667-4E78-A35A-CC3AFDB851F9}" dt="2024-11-20T19:50:45.053" v="8394" actId="207"/>
          <ac:spMkLst>
            <pc:docMk/>
            <pc:sldMk cId="4227830934" sldId="278"/>
            <ac:spMk id="8" creationId="{706F5626-D98D-4B51-D373-C58C3D31A770}"/>
          </ac:spMkLst>
        </pc:spChg>
        <pc:spChg chg="add mod">
          <ac:chgData name="Rashi bhardwaj" userId="a8ce0118b50dbc10" providerId="LiveId" clId="{E5E46110-B667-4E78-A35A-CC3AFDB851F9}" dt="2024-11-20T20:14:14.940" v="8906"/>
          <ac:spMkLst>
            <pc:docMk/>
            <pc:sldMk cId="4227830934" sldId="278"/>
            <ac:spMk id="15" creationId="{76CECE9F-3D83-6FB6-3EF8-2571C8523B8C}"/>
          </ac:spMkLst>
        </pc:spChg>
        <pc:spChg chg="mod">
          <ac:chgData name="Rashi bhardwaj" userId="a8ce0118b50dbc10" providerId="LiveId" clId="{E5E46110-B667-4E78-A35A-CC3AFDB851F9}" dt="2024-11-20T19:51:16.241" v="8396" actId="14100"/>
          <ac:spMkLst>
            <pc:docMk/>
            <pc:sldMk cId="4227830934" sldId="278"/>
            <ac:spMk id="19" creationId="{F8677EC8-A3D0-F40A-E079-01E0CC608EFD}"/>
          </ac:spMkLst>
        </pc:spChg>
        <pc:spChg chg="add mod">
          <ac:chgData name="Rashi bhardwaj" userId="a8ce0118b50dbc10" providerId="LiveId" clId="{E5E46110-B667-4E78-A35A-CC3AFDB851F9}" dt="2024-11-20T20:14:14.940" v="8906"/>
          <ac:spMkLst>
            <pc:docMk/>
            <pc:sldMk cId="4227830934" sldId="278"/>
            <ac:spMk id="22" creationId="{D1D451C3-6C3B-B588-1BD5-76525BB81A39}"/>
          </ac:spMkLst>
        </pc:spChg>
        <pc:spChg chg="add mod">
          <ac:chgData name="Rashi bhardwaj" userId="a8ce0118b50dbc10" providerId="LiveId" clId="{E5E46110-B667-4E78-A35A-CC3AFDB851F9}" dt="2024-11-20T20:14:14.940" v="8906"/>
          <ac:spMkLst>
            <pc:docMk/>
            <pc:sldMk cId="4227830934" sldId="278"/>
            <ac:spMk id="26" creationId="{0B91CCA1-CD61-1FDE-B646-463DDE943237}"/>
          </ac:spMkLst>
        </pc:spChg>
        <pc:spChg chg="add mod">
          <ac:chgData name="Rashi bhardwaj" userId="a8ce0118b50dbc10" providerId="LiveId" clId="{E5E46110-B667-4E78-A35A-CC3AFDB851F9}" dt="2024-11-20T20:14:14.940" v="8906"/>
          <ac:spMkLst>
            <pc:docMk/>
            <pc:sldMk cId="4227830934" sldId="278"/>
            <ac:spMk id="29" creationId="{19D7E4EE-1099-E978-8CEE-36467C47BE68}"/>
          </ac:spMkLst>
        </pc:spChg>
        <pc:spChg chg="add mod">
          <ac:chgData name="Rashi bhardwaj" userId="a8ce0118b50dbc10" providerId="LiveId" clId="{E5E46110-B667-4E78-A35A-CC3AFDB851F9}" dt="2024-11-20T20:14:14.940" v="8906"/>
          <ac:spMkLst>
            <pc:docMk/>
            <pc:sldMk cId="4227830934" sldId="278"/>
            <ac:spMk id="32" creationId="{B57FD59D-05DF-2A8D-603C-F6897C65245D}"/>
          </ac:spMkLst>
        </pc:spChg>
        <pc:spChg chg="add mod">
          <ac:chgData name="Rashi bhardwaj" userId="a8ce0118b50dbc10" providerId="LiveId" clId="{E5E46110-B667-4E78-A35A-CC3AFDB851F9}" dt="2024-11-20T20:14:14.940" v="8906"/>
          <ac:spMkLst>
            <pc:docMk/>
            <pc:sldMk cId="4227830934" sldId="278"/>
            <ac:spMk id="34" creationId="{AC46F2BD-E65F-63CD-78A3-27B0D7876489}"/>
          </ac:spMkLst>
        </pc:spChg>
        <pc:spChg chg="add mod">
          <ac:chgData name="Rashi bhardwaj" userId="a8ce0118b50dbc10" providerId="LiveId" clId="{E5E46110-B667-4E78-A35A-CC3AFDB851F9}" dt="2024-11-20T20:14:14.940" v="8906"/>
          <ac:spMkLst>
            <pc:docMk/>
            <pc:sldMk cId="4227830934" sldId="278"/>
            <ac:spMk id="37" creationId="{2E7426CB-657E-1239-BFC2-8EEA7B06660B}"/>
          </ac:spMkLst>
        </pc:spChg>
        <pc:spChg chg="add mod">
          <ac:chgData name="Rashi bhardwaj" userId="a8ce0118b50dbc10" providerId="LiveId" clId="{E5E46110-B667-4E78-A35A-CC3AFDB851F9}" dt="2024-11-20T20:14:14.940" v="8906"/>
          <ac:spMkLst>
            <pc:docMk/>
            <pc:sldMk cId="4227830934" sldId="278"/>
            <ac:spMk id="39" creationId="{2AFCBCDC-14BF-4CC3-D3EC-01ABF331FF4D}"/>
          </ac:spMkLst>
        </pc:spChg>
        <pc:spChg chg="add mod">
          <ac:chgData name="Rashi bhardwaj" userId="a8ce0118b50dbc10" providerId="LiveId" clId="{E5E46110-B667-4E78-A35A-CC3AFDB851F9}" dt="2024-11-20T20:14:14.940" v="8906"/>
          <ac:spMkLst>
            <pc:docMk/>
            <pc:sldMk cId="4227830934" sldId="278"/>
            <ac:spMk id="40" creationId="{DDE5576B-B67E-1DA7-BBA3-F3935341D85D}"/>
          </ac:spMkLst>
        </pc:spChg>
        <pc:spChg chg="add mod">
          <ac:chgData name="Rashi bhardwaj" userId="a8ce0118b50dbc10" providerId="LiveId" clId="{E5E46110-B667-4E78-A35A-CC3AFDB851F9}" dt="2024-11-20T20:14:14.940" v="8906"/>
          <ac:spMkLst>
            <pc:docMk/>
            <pc:sldMk cId="4227830934" sldId="278"/>
            <ac:spMk id="41" creationId="{AFA98B0E-9174-C37D-8EEB-D0495E0617B9}"/>
          </ac:spMkLst>
        </pc:spChg>
        <pc:spChg chg="add mod">
          <ac:chgData name="Rashi bhardwaj" userId="a8ce0118b50dbc10" providerId="LiveId" clId="{E5E46110-B667-4E78-A35A-CC3AFDB851F9}" dt="2024-11-20T20:14:14.940" v="8906"/>
          <ac:spMkLst>
            <pc:docMk/>
            <pc:sldMk cId="4227830934" sldId="278"/>
            <ac:spMk id="42" creationId="{EF47CC50-DAC6-2A8B-B793-FD9815D86A89}"/>
          </ac:spMkLst>
        </pc:spChg>
        <pc:spChg chg="add mod">
          <ac:chgData name="Rashi bhardwaj" userId="a8ce0118b50dbc10" providerId="LiveId" clId="{E5E46110-B667-4E78-A35A-CC3AFDB851F9}" dt="2024-11-20T20:14:14.940" v="8906"/>
          <ac:spMkLst>
            <pc:docMk/>
            <pc:sldMk cId="4227830934" sldId="278"/>
            <ac:spMk id="43" creationId="{F504A993-6EC1-7168-468D-E5729791AD0B}"/>
          </ac:spMkLst>
        </pc:spChg>
        <pc:spChg chg="add mod">
          <ac:chgData name="Rashi bhardwaj" userId="a8ce0118b50dbc10" providerId="LiveId" clId="{E5E46110-B667-4E78-A35A-CC3AFDB851F9}" dt="2024-11-20T20:24:50.068" v="9543" actId="1038"/>
          <ac:spMkLst>
            <pc:docMk/>
            <pc:sldMk cId="4227830934" sldId="278"/>
            <ac:spMk id="45" creationId="{CA825A3B-57C3-BFD8-D6E3-8694CBEDCD39}"/>
          </ac:spMkLst>
        </pc:spChg>
        <pc:spChg chg="del mod">
          <ac:chgData name="Rashi bhardwaj" userId="a8ce0118b50dbc10" providerId="LiveId" clId="{E5E46110-B667-4E78-A35A-CC3AFDB851F9}" dt="2024-11-20T20:24:36.212" v="9374" actId="478"/>
          <ac:spMkLst>
            <pc:docMk/>
            <pc:sldMk cId="4227830934" sldId="278"/>
            <ac:spMk id="82" creationId="{0AF39F28-B234-1CF9-4EBE-8B53CA425396}"/>
          </ac:spMkLst>
        </pc:spChg>
        <pc:spChg chg="mod">
          <ac:chgData name="Rashi bhardwaj" userId="a8ce0118b50dbc10" providerId="LiveId" clId="{E5E46110-B667-4E78-A35A-CC3AFDB851F9}" dt="2024-11-20T20:25:41.956" v="9551" actId="20577"/>
          <ac:spMkLst>
            <pc:docMk/>
            <pc:sldMk cId="4227830934" sldId="278"/>
            <ac:spMk id="161" creationId="{EFB74743-F297-50BE-243F-6CFD286E5B63}"/>
          </ac:spMkLst>
        </pc:spChg>
        <pc:cxnChg chg="add mod">
          <ac:chgData name="Rashi bhardwaj" userId="a8ce0118b50dbc10" providerId="LiveId" clId="{E5E46110-B667-4E78-A35A-CC3AFDB851F9}" dt="2024-11-21T10:09:38.361" v="10974"/>
          <ac:cxnSpMkLst>
            <pc:docMk/>
            <pc:sldMk cId="4227830934" sldId="278"/>
            <ac:cxnSpMk id="3" creationId="{580013E7-10DC-B584-7CF8-C1E98847EDFE}"/>
          </ac:cxnSpMkLst>
        </pc:cxnChg>
        <pc:cxnChg chg="add mod">
          <ac:chgData name="Rashi bhardwaj" userId="a8ce0118b50dbc10" providerId="LiveId" clId="{E5E46110-B667-4E78-A35A-CC3AFDB851F9}" dt="2024-11-21T10:12:52.884" v="11128"/>
          <ac:cxnSpMkLst>
            <pc:docMk/>
            <pc:sldMk cId="4227830934" sldId="278"/>
            <ac:cxnSpMk id="15" creationId="{F77B6834-844E-C60D-4FBE-B4BB663A2F33}"/>
          </ac:cxnSpMkLst>
        </pc:cxnChg>
        <pc:cxnChg chg="add mod">
          <ac:chgData name="Rashi bhardwaj" userId="a8ce0118b50dbc10" providerId="LiveId" clId="{E5E46110-B667-4E78-A35A-CC3AFDB851F9}" dt="2024-11-21T10:15:48.113" v="11158"/>
          <ac:cxnSpMkLst>
            <pc:docMk/>
            <pc:sldMk cId="4227830934" sldId="278"/>
            <ac:cxnSpMk id="16" creationId="{1F16F4DF-2C4B-114B-E8D8-116D366AFE57}"/>
          </ac:cxnSpMkLst>
        </pc:cxnChg>
        <pc:cxnChg chg="add mod">
          <ac:chgData name="Rashi bhardwaj" userId="a8ce0118b50dbc10" providerId="LiveId" clId="{E5E46110-B667-4E78-A35A-CC3AFDB851F9}" dt="2024-11-20T20:14:14.940" v="8906"/>
          <ac:cxnSpMkLst>
            <pc:docMk/>
            <pc:sldMk cId="4227830934" sldId="278"/>
            <ac:cxnSpMk id="44" creationId="{D019A335-BBD7-210C-BADA-1BA84FAD0D41}"/>
          </ac:cxnSpMkLst>
        </pc:cxnChg>
      </pc:sldChg>
      <pc:sldChg chg="addSp modSp mod">
        <pc:chgData name="Rashi bhardwaj" userId="a8ce0118b50dbc10" providerId="LiveId" clId="{E5E46110-B667-4E78-A35A-CC3AFDB851F9}" dt="2024-11-21T10:22:24.089" v="11186" actId="1076"/>
        <pc:sldMkLst>
          <pc:docMk/>
          <pc:sldMk cId="4242353909" sldId="279"/>
        </pc:sldMkLst>
        <pc:picChg chg="mod">
          <ac:chgData name="Rashi bhardwaj" userId="a8ce0118b50dbc10" providerId="LiveId" clId="{E5E46110-B667-4E78-A35A-CC3AFDB851F9}" dt="2024-11-21T10:22:24.089" v="11186" actId="1076"/>
          <ac:picMkLst>
            <pc:docMk/>
            <pc:sldMk cId="4242353909" sldId="279"/>
            <ac:picMk id="5" creationId="{6AAB6AF5-C02E-439F-06E7-9B0000B64DEC}"/>
          </ac:picMkLst>
        </pc:picChg>
        <pc:cxnChg chg="add mod">
          <ac:chgData name="Rashi bhardwaj" userId="a8ce0118b50dbc10" providerId="LiveId" clId="{E5E46110-B667-4E78-A35A-CC3AFDB851F9}" dt="2024-11-21T10:09:54.766" v="10978"/>
          <ac:cxnSpMkLst>
            <pc:docMk/>
            <pc:sldMk cId="4242353909" sldId="279"/>
            <ac:cxnSpMk id="3" creationId="{4DF2DAEA-2856-4E99-8B1E-527B176AA957}"/>
          </ac:cxnSpMkLst>
        </pc:cxnChg>
        <pc:cxnChg chg="add mod">
          <ac:chgData name="Rashi bhardwaj" userId="a8ce0118b50dbc10" providerId="LiveId" clId="{E5E46110-B667-4E78-A35A-CC3AFDB851F9}" dt="2024-11-21T10:13:04.345" v="11132"/>
          <ac:cxnSpMkLst>
            <pc:docMk/>
            <pc:sldMk cId="4242353909" sldId="279"/>
            <ac:cxnSpMk id="11" creationId="{3CC044F8-2E99-E462-1C0C-0904DCCF6FE2}"/>
          </ac:cxnSpMkLst>
        </pc:cxnChg>
        <pc:cxnChg chg="add mod">
          <ac:chgData name="Rashi bhardwaj" userId="a8ce0118b50dbc10" providerId="LiveId" clId="{E5E46110-B667-4E78-A35A-CC3AFDB851F9}" dt="2024-11-21T10:15:59.207" v="11162"/>
          <ac:cxnSpMkLst>
            <pc:docMk/>
            <pc:sldMk cId="4242353909" sldId="279"/>
            <ac:cxnSpMk id="12" creationId="{2F814E01-C3F2-9A93-43F9-A9AE39D9317B}"/>
          </ac:cxnSpMkLst>
        </pc:cxnChg>
      </pc:sldChg>
      <pc:sldChg chg="addSp modSp">
        <pc:chgData name="Rashi bhardwaj" userId="a8ce0118b50dbc10" providerId="LiveId" clId="{E5E46110-B667-4E78-A35A-CC3AFDB851F9}" dt="2024-11-21T10:16:01.803" v="11163"/>
        <pc:sldMkLst>
          <pc:docMk/>
          <pc:sldMk cId="4054010985" sldId="281"/>
        </pc:sldMkLst>
        <pc:cxnChg chg="add mod">
          <ac:chgData name="Rashi bhardwaj" userId="a8ce0118b50dbc10" providerId="LiveId" clId="{E5E46110-B667-4E78-A35A-CC3AFDB851F9}" dt="2024-11-21T10:09:57.002" v="10979"/>
          <ac:cxnSpMkLst>
            <pc:docMk/>
            <pc:sldMk cId="4054010985" sldId="281"/>
            <ac:cxnSpMk id="3" creationId="{1BFD31E4-3A40-8577-840E-5B885FB99441}"/>
          </ac:cxnSpMkLst>
        </pc:cxnChg>
        <pc:cxnChg chg="add mod">
          <ac:chgData name="Rashi bhardwaj" userId="a8ce0118b50dbc10" providerId="LiveId" clId="{E5E46110-B667-4E78-A35A-CC3AFDB851F9}" dt="2024-11-21T10:13:06.397" v="11133"/>
          <ac:cxnSpMkLst>
            <pc:docMk/>
            <pc:sldMk cId="4054010985" sldId="281"/>
            <ac:cxnSpMk id="5" creationId="{1E9085FD-6D3D-32E4-25DE-26F162DF82BB}"/>
          </ac:cxnSpMkLst>
        </pc:cxnChg>
        <pc:cxnChg chg="add mod">
          <ac:chgData name="Rashi bhardwaj" userId="a8ce0118b50dbc10" providerId="LiveId" clId="{E5E46110-B667-4E78-A35A-CC3AFDB851F9}" dt="2024-11-21T10:16:01.803" v="11163"/>
          <ac:cxnSpMkLst>
            <pc:docMk/>
            <pc:sldMk cId="4054010985" sldId="281"/>
            <ac:cxnSpMk id="8" creationId="{FE6F9625-6B06-D8E3-3F32-5C5AEB786B48}"/>
          </ac:cxnSpMkLst>
        </pc:cxnChg>
      </pc:sldChg>
      <pc:sldChg chg="addSp modSp">
        <pc:chgData name="Rashi bhardwaj" userId="a8ce0118b50dbc10" providerId="LiveId" clId="{E5E46110-B667-4E78-A35A-CC3AFDB851F9}" dt="2024-11-21T10:16:03.726" v="11164"/>
        <pc:sldMkLst>
          <pc:docMk/>
          <pc:sldMk cId="2132413414" sldId="282"/>
        </pc:sldMkLst>
        <pc:cxnChg chg="add mod">
          <ac:chgData name="Rashi bhardwaj" userId="a8ce0118b50dbc10" providerId="LiveId" clId="{E5E46110-B667-4E78-A35A-CC3AFDB851F9}" dt="2024-11-21T10:09:59.294" v="10980"/>
          <ac:cxnSpMkLst>
            <pc:docMk/>
            <pc:sldMk cId="2132413414" sldId="282"/>
            <ac:cxnSpMk id="7" creationId="{BE337F2F-DB41-CDF7-5256-533FFAD22EFF}"/>
          </ac:cxnSpMkLst>
        </pc:cxnChg>
        <pc:cxnChg chg="add mod">
          <ac:chgData name="Rashi bhardwaj" userId="a8ce0118b50dbc10" providerId="LiveId" clId="{E5E46110-B667-4E78-A35A-CC3AFDB851F9}" dt="2024-11-21T10:13:08.935" v="11134"/>
          <ac:cxnSpMkLst>
            <pc:docMk/>
            <pc:sldMk cId="2132413414" sldId="282"/>
            <ac:cxnSpMk id="8" creationId="{A361A2D5-199E-6140-10D8-F839D8BE45DF}"/>
          </ac:cxnSpMkLst>
        </pc:cxnChg>
        <pc:cxnChg chg="add mod">
          <ac:chgData name="Rashi bhardwaj" userId="a8ce0118b50dbc10" providerId="LiveId" clId="{E5E46110-B667-4E78-A35A-CC3AFDB851F9}" dt="2024-11-21T10:16:03.726" v="11164"/>
          <ac:cxnSpMkLst>
            <pc:docMk/>
            <pc:sldMk cId="2132413414" sldId="282"/>
            <ac:cxnSpMk id="9" creationId="{34EBB2D8-1ADA-090D-3EE6-769C71D2CC05}"/>
          </ac:cxnSpMkLst>
        </pc:cxnChg>
      </pc:sldChg>
      <pc:sldChg chg="addSp modSp">
        <pc:chgData name="Rashi bhardwaj" userId="a8ce0118b50dbc10" providerId="LiveId" clId="{E5E46110-B667-4E78-A35A-CC3AFDB851F9}" dt="2024-11-21T10:15:53.697" v="11160"/>
        <pc:sldMkLst>
          <pc:docMk/>
          <pc:sldMk cId="902301978" sldId="283"/>
        </pc:sldMkLst>
        <pc:cxnChg chg="add mod">
          <ac:chgData name="Rashi bhardwaj" userId="a8ce0118b50dbc10" providerId="LiveId" clId="{E5E46110-B667-4E78-A35A-CC3AFDB851F9}" dt="2024-11-21T10:09:50.588" v="10976"/>
          <ac:cxnSpMkLst>
            <pc:docMk/>
            <pc:sldMk cId="902301978" sldId="283"/>
            <ac:cxnSpMk id="3" creationId="{24456D7C-3141-B86B-1AF8-9BD306A67875}"/>
          </ac:cxnSpMkLst>
        </pc:cxnChg>
        <pc:cxnChg chg="add mod">
          <ac:chgData name="Rashi bhardwaj" userId="a8ce0118b50dbc10" providerId="LiveId" clId="{E5E46110-B667-4E78-A35A-CC3AFDB851F9}" dt="2024-11-21T10:12:59.417" v="11130"/>
          <ac:cxnSpMkLst>
            <pc:docMk/>
            <pc:sldMk cId="902301978" sldId="283"/>
            <ac:cxnSpMk id="5" creationId="{941326B7-DE97-25B8-4611-931A9C9FA717}"/>
          </ac:cxnSpMkLst>
        </pc:cxnChg>
        <pc:cxnChg chg="add mod">
          <ac:chgData name="Rashi bhardwaj" userId="a8ce0118b50dbc10" providerId="LiveId" clId="{E5E46110-B667-4E78-A35A-CC3AFDB851F9}" dt="2024-11-21T10:15:53.697" v="11160"/>
          <ac:cxnSpMkLst>
            <pc:docMk/>
            <pc:sldMk cId="902301978" sldId="283"/>
            <ac:cxnSpMk id="7" creationId="{C1950DA9-3D26-CFD5-9DFF-C55257C84C82}"/>
          </ac:cxnSpMkLst>
        </pc:cxnChg>
      </pc:sldChg>
    </pc:docChg>
  </pc:docChgLst>
  <pc:docChgLst>
    <pc:chgData name="Guest User" providerId="Windows Live" clId="Web-{75989662-5A00-F740-6072-704F2181AD7E}"/>
    <pc:docChg chg="addSld modSld">
      <pc:chgData name="Guest User" userId="" providerId="Windows Live" clId="Web-{75989662-5A00-F740-6072-704F2181AD7E}" dt="2024-11-21T11:06:51.802" v="31" actId="20577"/>
      <pc:docMkLst>
        <pc:docMk/>
      </pc:docMkLst>
      <pc:sldChg chg="modSp">
        <pc:chgData name="Guest User" userId="" providerId="Windows Live" clId="Web-{75989662-5A00-F740-6072-704F2181AD7E}" dt="2024-11-21T09:50:56" v="0" actId="1076"/>
        <pc:sldMkLst>
          <pc:docMk/>
          <pc:sldMk cId="2538419880" sldId="266"/>
        </pc:sldMkLst>
        <pc:picChg chg="mod">
          <ac:chgData name="Guest User" userId="" providerId="Windows Live" clId="Web-{75989662-5A00-F740-6072-704F2181AD7E}" dt="2024-11-21T09:50:56" v="0" actId="1076"/>
          <ac:picMkLst>
            <pc:docMk/>
            <pc:sldMk cId="2538419880" sldId="266"/>
            <ac:picMk id="3" creationId="{053D680D-4BA0-0A57-98F0-929C7BCBB5A3}"/>
          </ac:picMkLst>
        </pc:picChg>
      </pc:sldChg>
      <pc:sldChg chg="modSp">
        <pc:chgData name="Guest User" userId="" providerId="Windows Live" clId="Web-{75989662-5A00-F740-6072-704F2181AD7E}" dt="2024-11-21T10:20:57.522" v="19" actId="20577"/>
        <pc:sldMkLst>
          <pc:docMk/>
          <pc:sldMk cId="726225029" sldId="272"/>
        </pc:sldMkLst>
        <pc:spChg chg="mod">
          <ac:chgData name="Guest User" userId="" providerId="Windows Live" clId="Web-{75989662-5A00-F740-6072-704F2181AD7E}" dt="2024-11-21T10:20:57.522" v="19" actId="20577"/>
          <ac:spMkLst>
            <pc:docMk/>
            <pc:sldMk cId="726225029" sldId="272"/>
            <ac:spMk id="28" creationId="{CADD4640-F61A-93E8-3642-E6663F9A4220}"/>
          </ac:spMkLst>
        </pc:spChg>
        <pc:picChg chg="mod modCrop">
          <ac:chgData name="Guest User" userId="" providerId="Windows Live" clId="Web-{75989662-5A00-F740-6072-704F2181AD7E}" dt="2024-11-21T10:19:54.677" v="12" actId="1076"/>
          <ac:picMkLst>
            <pc:docMk/>
            <pc:sldMk cId="726225029" sldId="272"/>
            <ac:picMk id="64" creationId="{71F1B94E-F3FD-4AB9-00A4-056A2E7DAD90}"/>
          </ac:picMkLst>
        </pc:picChg>
        <pc:picChg chg="mod">
          <ac:chgData name="Guest User" userId="" providerId="Windows Live" clId="Web-{75989662-5A00-F740-6072-704F2181AD7E}" dt="2024-11-21T10:20:10.818" v="15" actId="1076"/>
          <ac:picMkLst>
            <pc:docMk/>
            <pc:sldMk cId="726225029" sldId="272"/>
            <ac:picMk id="69" creationId="{5CBFAAE1-EB5D-C2FC-1FCE-9C0E65A66555}"/>
          </ac:picMkLst>
        </pc:picChg>
      </pc:sldChg>
      <pc:sldChg chg="modSp">
        <pc:chgData name="Guest User" userId="" providerId="Windows Live" clId="Web-{75989662-5A00-F740-6072-704F2181AD7E}" dt="2024-11-21T10:30:52.129" v="20" actId="1076"/>
        <pc:sldMkLst>
          <pc:docMk/>
          <pc:sldMk cId="4054010985" sldId="281"/>
        </pc:sldMkLst>
        <pc:picChg chg="mod">
          <ac:chgData name="Guest User" userId="" providerId="Windows Live" clId="Web-{75989662-5A00-F740-6072-704F2181AD7E}" dt="2024-11-21T10:30:52.129" v="20" actId="1076"/>
          <ac:picMkLst>
            <pc:docMk/>
            <pc:sldMk cId="4054010985" sldId="281"/>
            <ac:picMk id="11" creationId="{9F070C45-3036-ACFC-9920-CCF95B579F4D}"/>
          </ac:picMkLst>
        </pc:picChg>
      </pc:sldChg>
      <pc:sldChg chg="addSp delSp modSp new">
        <pc:chgData name="Guest User" userId="" providerId="Windows Live" clId="Web-{75989662-5A00-F740-6072-704F2181AD7E}" dt="2024-11-21T11:06:51.802" v="31" actId="20577"/>
        <pc:sldMkLst>
          <pc:docMk/>
          <pc:sldMk cId="945615311" sldId="284"/>
        </pc:sldMkLst>
        <pc:spChg chg="del mod">
          <ac:chgData name="Guest User" userId="" providerId="Windows Live" clId="Web-{75989662-5A00-F740-6072-704F2181AD7E}" dt="2024-11-21T11:03:06.782" v="25"/>
          <ac:spMkLst>
            <pc:docMk/>
            <pc:sldMk cId="945615311" sldId="284"/>
            <ac:spMk id="2" creationId="{C70ACE9E-78AD-9A7D-7A93-84FF041AC708}"/>
          </ac:spMkLst>
        </pc:spChg>
        <pc:spChg chg="del mod">
          <ac:chgData name="Guest User" userId="" providerId="Windows Live" clId="Web-{75989662-5A00-F740-6072-704F2181AD7E}" dt="2024-11-21T11:03:12.829" v="27"/>
          <ac:spMkLst>
            <pc:docMk/>
            <pc:sldMk cId="945615311" sldId="284"/>
            <ac:spMk id="3" creationId="{8D4E5DF8-6500-CB4C-8E55-2ABE40FA94C6}"/>
          </ac:spMkLst>
        </pc:spChg>
        <pc:spChg chg="add">
          <ac:chgData name="Guest User" userId="" providerId="Windows Live" clId="Web-{75989662-5A00-F740-6072-704F2181AD7E}" dt="2024-11-21T10:51:17.657" v="22"/>
          <ac:spMkLst>
            <pc:docMk/>
            <pc:sldMk cId="945615311" sldId="284"/>
            <ac:spMk id="5" creationId="{5692C1D6-7EF2-33D7-28D9-7288BB921589}"/>
          </ac:spMkLst>
        </pc:spChg>
        <pc:spChg chg="add del mod">
          <ac:chgData name="Guest User" userId="" providerId="Windows Live" clId="Web-{75989662-5A00-F740-6072-704F2181AD7E}" dt="2024-11-21T11:03:14.844" v="28"/>
          <ac:spMkLst>
            <pc:docMk/>
            <pc:sldMk cId="945615311" sldId="284"/>
            <ac:spMk id="9" creationId="{5D8D3E78-7CC0-8B1D-381C-AB9355B33712}"/>
          </ac:spMkLst>
        </pc:spChg>
        <pc:spChg chg="add mod">
          <ac:chgData name="Guest User" userId="" providerId="Windows Live" clId="Web-{75989662-5A00-F740-6072-704F2181AD7E}" dt="2024-11-21T11:06:51.802" v="31" actId="20577"/>
          <ac:spMkLst>
            <pc:docMk/>
            <pc:sldMk cId="945615311" sldId="284"/>
            <ac:spMk id="10" creationId="{33393A3F-4487-A1C9-B782-3AD0FA0D8B11}"/>
          </ac:spMkLst>
        </pc:spChg>
        <pc:picChg chg="add">
          <ac:chgData name="Guest User" userId="" providerId="Windows Live" clId="Web-{75989662-5A00-F740-6072-704F2181AD7E}" dt="2024-11-21T10:51:17.672" v="23"/>
          <ac:picMkLst>
            <pc:docMk/>
            <pc:sldMk cId="945615311" sldId="284"/>
            <ac:picMk id="7" creationId="{BD85BB53-7202-5B4D-7168-7DA94ECB6BB8}"/>
          </ac:picMkLst>
        </pc:picChg>
      </pc:sldChg>
    </pc:docChg>
  </pc:docChgLst>
  <pc:docChgLst>
    <pc:chgData name="Guest User" providerId="Windows Live" clId="Web-{C9508465-8ADA-115D-C93A-CF3CA8B78670}"/>
    <pc:docChg chg="modSld">
      <pc:chgData name="Guest User" userId="" providerId="Windows Live" clId="Web-{C9508465-8ADA-115D-C93A-CF3CA8B78670}" dt="2024-11-19T15:45:59.115" v="4" actId="1076"/>
      <pc:docMkLst>
        <pc:docMk/>
      </pc:docMkLst>
      <pc:sldChg chg="modSp">
        <pc:chgData name="Guest User" userId="" providerId="Windows Live" clId="Web-{C9508465-8ADA-115D-C93A-CF3CA8B78670}" dt="2024-11-19T15:45:59.115" v="4" actId="1076"/>
        <pc:sldMkLst>
          <pc:docMk/>
          <pc:sldMk cId="1538007991" sldId="257"/>
        </pc:sldMkLst>
      </pc:sldChg>
    </pc:docChg>
  </pc:docChgLst>
  <pc:docChgLst>
    <pc:chgData name="Guest User" providerId="Windows Live" clId="Web-{99BABE35-F226-783A-37E0-11DEC340177C}"/>
    <pc:docChg chg="modSld">
      <pc:chgData name="Guest User" userId="" providerId="Windows Live" clId="Web-{99BABE35-F226-783A-37E0-11DEC340177C}" dt="2024-11-19T15:48:14.207" v="3"/>
      <pc:docMkLst>
        <pc:docMk/>
      </pc:docMkLst>
      <pc:sldChg chg="addSp delSp">
        <pc:chgData name="Guest User" userId="" providerId="Windows Live" clId="Web-{99BABE35-F226-783A-37E0-11DEC340177C}" dt="2024-11-19T15:48:14.207" v="3"/>
        <pc:sldMkLst>
          <pc:docMk/>
          <pc:sldMk cId="1820089965" sldId="26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lims\Downloads\Revenue_Combined_Data_Corrected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Ex1.xml.rels><?xml version="1.0" encoding="UTF-8" standalone="yes"?>
<Relationships xmlns="http://schemas.openxmlformats.org/package/2006/relationships"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Ex10.xml.rels><?xml version="1.0" encoding="UTF-8" standalone="yes"?>
<Relationships xmlns="http://schemas.openxmlformats.org/package/2006/relationships"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Ex11.xml.rels><?xml version="1.0" encoding="UTF-8" standalone="yes"?>
<Relationships xmlns="http://schemas.openxmlformats.org/package/2006/relationships"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Ex12.xml.rels><?xml version="1.0" encoding="UTF-8" standalone="yes"?>
<Relationships xmlns="http://schemas.openxmlformats.org/package/2006/relationships"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Ex2.xml.rels><?xml version="1.0" encoding="UTF-8" standalone="yes"?>
<Relationships xmlns="http://schemas.openxmlformats.org/package/2006/relationships"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Ex3.xml.rels><?xml version="1.0" encoding="UTF-8" standalone="yes"?>
<Relationships xmlns="http://schemas.openxmlformats.org/package/2006/relationships"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Ex4.xml.rels><?xml version="1.0" encoding="UTF-8" standalone="yes"?>
<Relationships xmlns="http://schemas.openxmlformats.org/package/2006/relationships"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Ex5.xml.rels><?xml version="1.0" encoding="UTF-8" standalone="yes"?>
<Relationships xmlns="http://schemas.openxmlformats.org/package/2006/relationships"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Ex6.xml.rels><?xml version="1.0" encoding="UTF-8" standalone="yes"?>
<Relationships xmlns="http://schemas.openxmlformats.org/package/2006/relationships"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Ex7.xml.rels><?xml version="1.0" encoding="UTF-8" standalone="yes"?>
<Relationships xmlns="http://schemas.openxmlformats.org/package/2006/relationships"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Ex8.xml.rels><?xml version="1.0" encoding="UTF-8" standalone="yes"?>
<Relationships xmlns="http://schemas.openxmlformats.org/package/2006/relationships"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Ex9.xml.rels><?xml version="1.0" encoding="UTF-8" standalone="yes"?>
<Relationships xmlns="http://schemas.openxmlformats.org/package/2006/relationships"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sz="1400" b="1"/>
              <a:t>Number</a:t>
            </a:r>
            <a:r>
              <a:rPr lang="en-IN" sz="1400" b="1" baseline="0"/>
              <a:t> of Millionaires Keeps Rising</a:t>
            </a:r>
            <a:endParaRPr lang="en-IN" sz="1400" b="1"/>
          </a:p>
        </c:rich>
      </c:tx>
      <c:layout>
        <c:manualLayout>
          <c:xMode val="edge"/>
          <c:yMode val="edge"/>
          <c:x val="9.1228436850601807E-2"/>
          <c:y val="1.9598996067859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9520099843355224"/>
          <c:y val="0.22877355290884308"/>
          <c:w val="0.61816420813834361"/>
          <c:h val="0.7149160946427047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00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USA</c:v>
                </c:pt>
                <c:pt idx="1">
                  <c:v>CHINA</c:v>
                </c:pt>
                <c:pt idx="2">
                  <c:v>FRANCE</c:v>
                </c:pt>
                <c:pt idx="3">
                  <c:v>JAPA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.64</c:v>
                </c:pt>
                <c:pt idx="1">
                  <c:v>0.04</c:v>
                </c:pt>
                <c:pt idx="2">
                  <c:v>0.4</c:v>
                </c:pt>
                <c:pt idx="3">
                  <c:v>2.47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7D-46CD-A25A-5DFF5C7263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USA</c:v>
                </c:pt>
                <c:pt idx="1">
                  <c:v>CHINA</c:v>
                </c:pt>
                <c:pt idx="2">
                  <c:v>FRANCE</c:v>
                </c:pt>
                <c:pt idx="3">
                  <c:v>JAPA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1.95</c:v>
                </c:pt>
                <c:pt idx="1">
                  <c:v>6.01</c:v>
                </c:pt>
                <c:pt idx="2">
                  <c:v>2.87</c:v>
                </c:pt>
                <c:pt idx="3">
                  <c:v>2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F7D-46CD-A25A-5DFF5C72638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8</c:v>
                </c:pt>
              </c:strCache>
            </c:strRef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USA</c:v>
                </c:pt>
                <c:pt idx="1">
                  <c:v>CHINA</c:v>
                </c:pt>
                <c:pt idx="2">
                  <c:v>FRANCE</c:v>
                </c:pt>
                <c:pt idx="3">
                  <c:v>JAPAN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5.43</c:v>
                </c:pt>
                <c:pt idx="1">
                  <c:v>6.51</c:v>
                </c:pt>
                <c:pt idx="2">
                  <c:v>3.32</c:v>
                </c:pt>
                <c:pt idx="3">
                  <c:v>3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7D-46CD-A25A-5DFF5C72638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742354655"/>
        <c:axId val="742357055"/>
      </c:barChart>
      <c:catAx>
        <c:axId val="74235465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2357055"/>
        <c:crosses val="autoZero"/>
        <c:auto val="1"/>
        <c:lblAlgn val="ctr"/>
        <c:lblOffset val="100"/>
        <c:noMultiLvlLbl val="0"/>
      </c:catAx>
      <c:valAx>
        <c:axId val="742357055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4235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"/>
          <c:y val="0.93546037990997866"/>
          <c:w val="0.48528230349462631"/>
          <c:h val="6.33151204696686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 rot="0" vert="wordArtVert"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arket</a:t>
            </a:r>
            <a:r>
              <a:rPr lang="en-US" baseline="0"/>
              <a:t> Size </a:t>
            </a:r>
            <a:r>
              <a:rPr lang="en-US"/>
              <a:t>(billion USD)</a:t>
            </a:r>
          </a:p>
        </c:rich>
      </c:tx>
      <c:layout>
        <c:manualLayout>
          <c:xMode val="edge"/>
          <c:yMode val="edge"/>
          <c:x val="0.19920660392956466"/>
          <c:y val="8.63405037344202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 (billion USD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3</c:f>
              <c:numCache>
                <c:formatCode>General</c:formatCode>
                <c:ptCount val="2"/>
                <c:pt idx="0">
                  <c:v>2024</c:v>
                </c:pt>
                <c:pt idx="1">
                  <c:v>2029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.46</c:v>
                </c:pt>
                <c:pt idx="1">
                  <c:v>38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11-4703-B28A-705C9BAEB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7075375"/>
        <c:axId val="207082575"/>
      </c:barChart>
      <c:catAx>
        <c:axId val="2070753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420C09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082575"/>
        <c:crosses val="autoZero"/>
        <c:auto val="1"/>
        <c:lblAlgn val="ctr"/>
        <c:lblOffset val="100"/>
        <c:noMultiLvlLbl val="0"/>
      </c:catAx>
      <c:valAx>
        <c:axId val="2070825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707537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solidFill>
      <a:srgbClr val="FFFFFF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40474009622244006"/>
          <c:y val="5.9850362312650986E-2"/>
          <c:w val="0.56587261435482816"/>
          <c:h val="0.85147095814185836"/>
        </c:manualLayout>
      </c:layout>
      <c:bar3D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  <a:sp3d/>
          </c:spPr>
          <c:invertIfNegative val="0"/>
          <c:cat>
            <c:strRef>
              <c:f>Sheet1!$A$2:$A$7</c:f>
              <c:strCache>
                <c:ptCount val="6"/>
                <c:pt idx="0">
                  <c:v>CONSTRUCTION OF HUBS IN KEY LOCATIONS</c:v>
                </c:pt>
                <c:pt idx="1">
                  <c:v>COLLABORATE WITH LOCAL PARTNERS</c:v>
                </c:pt>
                <c:pt idx="2">
                  <c:v>IMPLEMENT GOOGLE MAPS INTEGRATION</c:v>
                </c:pt>
                <c:pt idx="3">
                  <c:v>ESTABLISH MORE WAREHOUSES</c:v>
                </c:pt>
                <c:pt idx="4">
                  <c:v>PREPARE FOR DISRUPTIONS LIKE WEATHER CONDITIONS</c:v>
                </c:pt>
                <c:pt idx="5">
                  <c:v> CONSIDER EXPANDING TO MORE REMOTE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</c:v>
                </c:pt>
                <c:pt idx="1">
                  <c:v>3</c:v>
                </c:pt>
                <c:pt idx="2">
                  <c:v>6</c:v>
                </c:pt>
                <c:pt idx="3">
                  <c:v>12</c:v>
                </c:pt>
                <c:pt idx="4">
                  <c:v>18</c:v>
                </c:pt>
                <c:pt idx="5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C1-41F0-8862-9052A82AC5B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cat>
            <c:strRef>
              <c:f>Sheet1!$A$2:$A$7</c:f>
              <c:strCache>
                <c:ptCount val="6"/>
                <c:pt idx="0">
                  <c:v>CONSTRUCTION OF HUBS IN KEY LOCATIONS</c:v>
                </c:pt>
                <c:pt idx="1">
                  <c:v>COLLABORATE WITH LOCAL PARTNERS</c:v>
                </c:pt>
                <c:pt idx="2">
                  <c:v>IMPLEMENT GOOGLE MAPS INTEGRATION</c:v>
                </c:pt>
                <c:pt idx="3">
                  <c:v>ESTABLISH MORE WAREHOUSES</c:v>
                </c:pt>
                <c:pt idx="4">
                  <c:v>PREPARE FOR DISRUPTIONS LIKE WEATHER CONDITIONS</c:v>
                </c:pt>
                <c:pt idx="5">
                  <c:v> CONSIDER EXPANDING TO MORE REMOTE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1-C1C1-41F0-8862-9052A82AC5B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cat>
            <c:strRef>
              <c:f>Sheet1!$A$2:$A$7</c:f>
              <c:strCache>
                <c:ptCount val="6"/>
                <c:pt idx="0">
                  <c:v>CONSTRUCTION OF HUBS IN KEY LOCATIONS</c:v>
                </c:pt>
                <c:pt idx="1">
                  <c:v>COLLABORATE WITH LOCAL PARTNERS</c:v>
                </c:pt>
                <c:pt idx="2">
                  <c:v>IMPLEMENT GOOGLE MAPS INTEGRATION</c:v>
                </c:pt>
                <c:pt idx="3">
                  <c:v>ESTABLISH MORE WAREHOUSES</c:v>
                </c:pt>
                <c:pt idx="4">
                  <c:v>PREPARE FOR DISRUPTIONS LIKE WEATHER CONDITIONS</c:v>
                </c:pt>
                <c:pt idx="5">
                  <c:v> CONSIDER EXPANDING TO MORE REMOTE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C1C1-41F0-8862-9052A82AC5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774380959"/>
        <c:axId val="1774373279"/>
        <c:axId val="0"/>
      </c:bar3DChart>
      <c:catAx>
        <c:axId val="177438095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74373279"/>
        <c:crossesAt val="0"/>
        <c:auto val="1"/>
        <c:lblAlgn val="ctr"/>
        <c:lblOffset val="100"/>
        <c:noMultiLvlLbl val="0"/>
      </c:catAx>
      <c:valAx>
        <c:axId val="1774373279"/>
        <c:scaling>
          <c:orientation val="minMax"/>
          <c:max val="24"/>
          <c:min val="0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774380959"/>
        <c:crosses val="autoZero"/>
        <c:crossBetween val="between"/>
        <c:majorUnit val="3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>
        <cx:plotSurface>
          <cx:spPr>
            <a:ln w="38100">
              <a:prstDash val="dash"/>
            </a:ln>
          </cx:spPr>
        </cx:plotSurface>
      </cx:plotAreaRegion>
    </cx:plotArea>
    <cx:legend pos="r" align="min" overlay="0"/>
  </cx:chart>
</cx:chartSpace>
</file>

<file path=ppt/charts/chartEx10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  <cx:legend pos="r" align="min" overlay="0"/>
  </cx:chart>
</cx:chartSpace>
</file>

<file path=ppt/charts/chartEx1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  <cx:legend pos="r" align="min" overlay="0"/>
  </cx:chart>
</cx:chartSpace>
</file>

<file path=ppt/charts/chartEx1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  <cx:legend pos="r" align="min" overlay="0"/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  <cx:legend pos="r" align="min" overlay="0"/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  <cx:legend pos="r" align="min" overlay="0"/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  <cx:legend pos="r" align="min" overlay="0"/>
  </cx:chart>
</cx:chartSpace>
</file>

<file path=ppt/charts/chartEx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  <cx:legend pos="r" align="min" overlay="0"/>
  </cx:chart>
</cx:chartSpace>
</file>

<file path=ppt/charts/chartEx6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  <cx:legend pos="r" align="min" overlay="0"/>
  </cx:chart>
</cx:chartSpace>
</file>

<file path=ppt/charts/chartEx7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  <cx:legend pos="r" align="min" overlay="0"/>
  </cx:chart>
</cx:chartSpace>
</file>

<file path=ppt/charts/chartEx8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  <cx:legend pos="r" align="min" overlay="0"/>
  </cx:chart>
</cx:chartSpace>
</file>

<file path=ppt/charts/chartEx9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  <cx:legend pos="r" align="min" overlay="0"/>
  </cx:chart>
</cx:chartSpace>
</file>

<file path=ppt/charts/colors1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838</cdr:x>
      <cdr:y>0.51122</cdr:y>
    </cdr:from>
    <cdr:to>
      <cdr:x>0.42776</cdr:x>
      <cdr:y>0.61557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60691E7F-BC93-8B98-9862-FD0EA138AFFE}"/>
            </a:ext>
          </a:extLst>
        </cdr:cNvPr>
        <cdr:cNvSpPr txBox="1"/>
      </cdr:nvSpPr>
      <cdr:spPr>
        <a:xfrm xmlns:a="http://schemas.openxmlformats.org/drawingml/2006/main">
          <a:off x="209306" y="1735652"/>
          <a:ext cx="2945332" cy="35429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IN" sz="1200" kern="12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B7FF23-63B3-4547-88B6-815DF8797C84}" type="datetimeFigureOut">
              <a:rPr lang="en-IN" smtClean="0"/>
              <a:t>07-12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6C6025-4AAE-4A90-A41B-006B8694CEF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6690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6C6025-4AAE-4A90-A41B-006B8694CEF1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677049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6C6025-4AAE-4A90-A41B-006B8694CEF1}" type="slidenum">
              <a:rPr lang="en-IN" smtClean="0"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041621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6C6025-4AAE-4A90-A41B-006B8694CEF1}" type="slidenum">
              <a:rPr lang="en-IN" smtClean="0"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7340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6C6025-4AAE-4A90-A41B-006B8694CEF1}" type="slidenum">
              <a:rPr lang="en-IN" smtClean="0"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0915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ABD44F-3B13-0B1E-37A2-18191DF9E0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142CB12-29C0-B812-DA43-53A382EE43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AF98DD-2985-CEDC-54BF-9EED657ED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FBD26-F3DF-4DCD-96AD-860D40EEEA5F}" type="datetimeFigureOut">
              <a:rPr lang="en-IN" smtClean="0"/>
              <a:t>07-12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7F3A1B-15CE-3954-10A8-3DE0C101B7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A533D2-20C3-FB25-1C7A-B3EA9471F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5AC56-D3A2-47CD-B30A-901D3A5FDF5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168041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C45C18-B035-9B72-7D99-F522FAE1B3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AF8D261-2454-97E6-D121-B2381EC232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AB2EDB-2DD6-70C3-96F3-CA72928B11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FBD26-F3DF-4DCD-96AD-860D40EEEA5F}" type="datetimeFigureOut">
              <a:rPr lang="en-IN" smtClean="0"/>
              <a:t>07-12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11791A-AC0D-B195-AF49-DE0E0346D6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91ECD1-890B-9864-5057-4193B7214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5AC56-D3A2-47CD-B30A-901D3A5FDF5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61512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1003C1A-E1A1-B9C6-2461-E86800A623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4885CC-42C2-67A6-34DF-51D58122E0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67115B-3158-AF87-F812-AA76B9B35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FBD26-F3DF-4DCD-96AD-860D40EEEA5F}" type="datetimeFigureOut">
              <a:rPr lang="en-IN" smtClean="0"/>
              <a:t>07-12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F18B1C-A452-8174-3E3E-7796888184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7170ED-D42E-09A1-A79C-C3F4A0DACD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5AC56-D3A2-47CD-B30A-901D3A5FDF5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43871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6508BE-95BF-58FD-B682-41CAA51F5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330060-7E3B-BDD3-A5F0-5317BB74BB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B4106B-AEC3-8B49-384F-0B4E55DC90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FBD26-F3DF-4DCD-96AD-860D40EEEA5F}" type="datetimeFigureOut">
              <a:rPr lang="en-IN" smtClean="0"/>
              <a:t>07-12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47C49-A515-6C3B-17FE-C63975C9C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55E98D-359E-0357-06E1-434B86A25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5AC56-D3A2-47CD-B30A-901D3A5FDF5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86191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AD4F8-D66B-E32B-5EF3-958822A9F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152BFF-25AE-C9C7-A804-105238C2E8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2EAD22-93EF-14AA-7480-9619BBAA71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FBD26-F3DF-4DCD-96AD-860D40EEEA5F}" type="datetimeFigureOut">
              <a:rPr lang="en-IN" smtClean="0"/>
              <a:t>07-12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745BD7-B0D0-B678-8552-1E7B8B544D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0345DF-FDB0-681F-AEE0-BB33470AA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5AC56-D3A2-47CD-B30A-901D3A5FDF5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06575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955E4E-B474-3953-D7AE-44B2E6AA0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917F63-5BAE-615F-AEE7-B5787F4187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2547D1-9CAB-250E-ED69-3CBEBA39AC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318B6-5962-1634-65B5-D9715F4BD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FBD26-F3DF-4DCD-96AD-860D40EEEA5F}" type="datetimeFigureOut">
              <a:rPr lang="en-IN" smtClean="0"/>
              <a:t>07-12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573F90-C004-DA83-FCF5-938D61579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8EB5F3-CA45-9C12-609B-FDC02DBB1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5AC56-D3A2-47CD-B30A-901D3A5FDF5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457561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BF71EB-1DB4-BE81-4F31-F1A19257A2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32EAC7-14B4-3F33-065F-9E50663EA6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CB4586-ABD6-0C2E-7406-F70504B201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D6A6C3-38D2-50D9-5906-20730588FF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704BB8-98B7-24D9-A7E7-CFF7493ADD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C36B1C-FDFE-32C9-264E-4B4A7D700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FBD26-F3DF-4DCD-96AD-860D40EEEA5F}" type="datetimeFigureOut">
              <a:rPr lang="en-IN" smtClean="0"/>
              <a:t>07-12-2024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743DCD-4D3F-3BB8-9D69-3E5D93BF2E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9E1FE6-7F9C-9216-AFE8-4A7EB7197E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5AC56-D3A2-47CD-B30A-901D3A5FDF5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36790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8FCA3B-F03D-30D0-F812-8A888FAEF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AEDECE-5220-BB6A-2E80-35120616D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FBD26-F3DF-4DCD-96AD-860D40EEEA5F}" type="datetimeFigureOut">
              <a:rPr lang="en-IN" smtClean="0"/>
              <a:t>07-12-2024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7E9B1-DBD9-077F-D894-ABBB3843F1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EF74AB-6C71-EEEC-9465-F56DD33D1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5AC56-D3A2-47CD-B30A-901D3A5FDF5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32772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B58DD2-D6E9-70B0-FCA3-A79952D6D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FBD26-F3DF-4DCD-96AD-860D40EEEA5F}" type="datetimeFigureOut">
              <a:rPr lang="en-IN" smtClean="0"/>
              <a:t>07-12-2024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A21A7F4-395E-146B-D68B-BA18E4839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46D21F-2A33-9713-9591-C2433BCD0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5AC56-D3A2-47CD-B30A-901D3A5FDF5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474173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1622AB-9089-8FA9-03A9-7BE89B2BCE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40A4DD-6FAA-7955-2247-817B049CE1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7A5D00-FB57-FE23-D6F3-B60DDB9808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099079-8775-7440-2557-6B214A7BC3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FBD26-F3DF-4DCD-96AD-860D40EEEA5F}" type="datetimeFigureOut">
              <a:rPr lang="en-IN" smtClean="0"/>
              <a:t>07-12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417E0B-F346-2A13-AAE5-253F5C208F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97F3AF-03F2-60CB-998A-926C83594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5AC56-D3A2-47CD-B30A-901D3A5FDF5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198814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01A9C-1391-93A4-89EC-8427EAFB14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0CF67DC-1F83-D84F-B4A9-299A2B91D8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EFECDD-A570-9932-4838-CA8FCA6613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626446-1D23-3F5B-F69E-B0CFA19637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FBD26-F3DF-4DCD-96AD-860D40EEEA5F}" type="datetimeFigureOut">
              <a:rPr lang="en-IN" smtClean="0"/>
              <a:t>07-12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2FF86C-B497-FBDD-0847-290BDCFF1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10F269-83F5-1B1F-F870-2B94A953A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5AC56-D3A2-47CD-B30A-901D3A5FDF5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072666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microsoft.com/office/2007/relationships/hdphoto" Target="../media/hdphoto1.wdp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EC084D-83E7-1B09-3636-5B633FD46C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DD8CF7-0B53-BD6F-1362-A3F5AADD30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24C6E0-8151-3175-6A5B-6EDA0A219C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8FBD26-F3DF-4DCD-96AD-860D40EEEA5F}" type="datetimeFigureOut">
              <a:rPr lang="en-IN" smtClean="0"/>
              <a:t>07-12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3A4F7F-1DAB-E57D-4C0C-513B54D521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D3AB80-CC4A-8220-C11D-9023A9B188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75AC56-D3A2-47CD-B30A-901D3A5FDF52}" type="slidenum">
              <a:rPr lang="en-IN" smtClean="0"/>
              <a:t>‹#›</a:t>
            </a:fld>
            <a:endParaRPr lang="en-IN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DEFC24F-7AD7-DB1A-4A6D-E535D5B3FD9E}"/>
              </a:ext>
            </a:extLst>
          </p:cNvPr>
          <p:cNvCxnSpPr>
            <a:cxnSpLocks/>
          </p:cNvCxnSpPr>
          <p:nvPr userDrawn="1"/>
        </p:nvCxnSpPr>
        <p:spPr>
          <a:xfrm>
            <a:off x="81280" y="6388252"/>
            <a:ext cx="11999085" cy="0"/>
          </a:xfrm>
          <a:prstGeom prst="line">
            <a:avLst/>
          </a:prstGeom>
          <a:ln w="19050">
            <a:solidFill>
              <a:srgbClr val="EA96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38B546A8-3D36-8CA1-C879-12D629D803DF}"/>
              </a:ext>
            </a:extLst>
          </p:cNvPr>
          <p:cNvSpPr/>
          <p:nvPr userDrawn="1"/>
        </p:nvSpPr>
        <p:spPr>
          <a:xfrm>
            <a:off x="1" y="0"/>
            <a:ext cx="8564880" cy="1488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E92CF5C-158E-194B-C980-CE9F702AE3CE}"/>
              </a:ext>
            </a:extLst>
          </p:cNvPr>
          <p:cNvGrpSpPr/>
          <p:nvPr userDrawn="1"/>
        </p:nvGrpSpPr>
        <p:grpSpPr>
          <a:xfrm>
            <a:off x="10982324" y="239263"/>
            <a:ext cx="1192721" cy="504900"/>
            <a:chOff x="10816399" y="125020"/>
            <a:chExt cx="1434796" cy="590368"/>
          </a:xfrm>
        </p:grpSpPr>
        <p:pic>
          <p:nvPicPr>
            <p:cNvPr id="10" name="Picture 2" descr="Chick-fil-A Logo: valor, história, PNG">
              <a:extLst>
                <a:ext uri="{FF2B5EF4-FFF2-40B4-BE49-F238E27FC236}">
                  <a16:creationId xmlns:a16="http://schemas.microsoft.com/office/drawing/2014/main" id="{E281E5E9-78D2-7D08-F003-0E32279399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01652" y="125020"/>
              <a:ext cx="1049543" cy="5903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object 6">
              <a:extLst>
                <a:ext uri="{FF2B5EF4-FFF2-40B4-BE49-F238E27FC236}">
                  <a16:creationId xmlns:a16="http://schemas.microsoft.com/office/drawing/2014/main" id="{E6C7DF71-F3C1-5A45-CB2D-73491F71F0B5}"/>
                </a:ext>
              </a:extLst>
            </p:cNvPr>
            <p:cNvPicPr/>
            <p:nvPr/>
          </p:nvPicPr>
          <p:blipFill rotWithShape="1">
            <a:blip r:embed="rId14" cstate="print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 t="-1" b="37119"/>
            <a:stretch/>
          </p:blipFill>
          <p:spPr>
            <a:xfrm>
              <a:off x="10816399" y="131148"/>
              <a:ext cx="552894" cy="574986"/>
            </a:xfrm>
            <a:prstGeom prst="rect">
              <a:avLst/>
            </a:prstGeom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A1931-6E83-7799-30B5-BACE2E1C9E86}"/>
              </a:ext>
            </a:extLst>
          </p:cNvPr>
          <p:cNvSpPr/>
          <p:nvPr userDrawn="1"/>
        </p:nvSpPr>
        <p:spPr>
          <a:xfrm>
            <a:off x="8565134" y="-436"/>
            <a:ext cx="3626865" cy="148867"/>
          </a:xfrm>
          <a:prstGeom prst="rect">
            <a:avLst/>
          </a:prstGeom>
          <a:solidFill>
            <a:srgbClr val="EA9689"/>
          </a:solidFill>
          <a:ln>
            <a:solidFill>
              <a:srgbClr val="EA96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F30BC9F-C36A-0492-75D2-5417548E8602}"/>
              </a:ext>
            </a:extLst>
          </p:cNvPr>
          <p:cNvCxnSpPr>
            <a:cxnSpLocks/>
          </p:cNvCxnSpPr>
          <p:nvPr userDrawn="1"/>
        </p:nvCxnSpPr>
        <p:spPr>
          <a:xfrm>
            <a:off x="78739" y="857628"/>
            <a:ext cx="12001626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F31028E-FE25-E61D-F6B2-514324F7F8C7}"/>
              </a:ext>
            </a:extLst>
          </p:cNvPr>
          <p:cNvSpPr txBox="1"/>
          <p:nvPr userDrawn="1"/>
        </p:nvSpPr>
        <p:spPr>
          <a:xfrm>
            <a:off x="110057" y="6483393"/>
            <a:ext cx="17608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i="1"/>
              <a:t>Executive Summary</a:t>
            </a:r>
            <a:endParaRPr lang="en-US" sz="1200" b="1" i="1">
              <a:ea typeface="Calibri"/>
              <a:cs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9AA17D2-EF3B-2014-282C-DF85AFB285C8}"/>
              </a:ext>
            </a:extLst>
          </p:cNvPr>
          <p:cNvSpPr txBox="1"/>
          <p:nvPr userDrawn="1"/>
        </p:nvSpPr>
        <p:spPr>
          <a:xfrm>
            <a:off x="2113637" y="6494051"/>
            <a:ext cx="17608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i="1"/>
              <a:t>Market Research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F6F95DD-DD52-A176-C96A-1F4F335FE3F5}"/>
              </a:ext>
            </a:extLst>
          </p:cNvPr>
          <p:cNvSpPr txBox="1"/>
          <p:nvPr userDrawn="1"/>
        </p:nvSpPr>
        <p:spPr>
          <a:xfrm>
            <a:off x="4021302" y="6488722"/>
            <a:ext cx="17608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i="1"/>
              <a:t>Target Market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228EF9B-E829-0ACA-5E7A-659B80616635}"/>
              </a:ext>
            </a:extLst>
          </p:cNvPr>
          <p:cNvSpPr txBox="1"/>
          <p:nvPr userDrawn="1"/>
        </p:nvSpPr>
        <p:spPr>
          <a:xfrm>
            <a:off x="6083497" y="6488722"/>
            <a:ext cx="17608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i="1"/>
              <a:t>Launching Strategies</a:t>
            </a:r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B214CD0-3190-D858-B23B-2BDED3479940}"/>
              </a:ext>
            </a:extLst>
          </p:cNvPr>
          <p:cNvSpPr txBox="1"/>
          <p:nvPr userDrawn="1"/>
        </p:nvSpPr>
        <p:spPr>
          <a:xfrm>
            <a:off x="8071092" y="6488722"/>
            <a:ext cx="17608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i="1"/>
              <a:t>Localization</a:t>
            </a:r>
            <a:endParaRPr lang="en-US" err="1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1523630-CFFA-9F2E-5CC4-052768358164}"/>
              </a:ext>
            </a:extLst>
          </p:cNvPr>
          <p:cNvSpPr txBox="1"/>
          <p:nvPr userDrawn="1"/>
        </p:nvSpPr>
        <p:spPr>
          <a:xfrm>
            <a:off x="9978756" y="6494051"/>
            <a:ext cx="17608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i="1"/>
              <a:t>Marketing Strateg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379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14/relationships/chartEx" Target="../charts/chartEx6.xml"/><Relationship Id="rId3" Type="http://schemas.openxmlformats.org/officeDocument/2006/relationships/image" Target="../media/image99.png"/><Relationship Id="rId7" Type="http://schemas.microsoft.com/office/2014/relationships/chartEx" Target="../charts/chartEx5.xml"/><Relationship Id="rId2" Type="http://schemas.microsoft.com/office/2014/relationships/chartEx" Target="../charts/chartEx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microsoft.com/office/2014/relationships/chartEx" Target="../charts/chartEx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png"/><Relationship Id="rId5" Type="http://schemas.microsoft.com/office/2014/relationships/chartEx" Target="../charts/chartEx8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microsoft.com/office/2014/relationships/chartEx" Target="../charts/chartEx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4.png"/><Relationship Id="rId5" Type="http://schemas.microsoft.com/office/2014/relationships/chartEx" Target="../charts/chartEx10.xml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lobaldata.com/store/report/france-foodservice-market-analysis/" TargetMode="External"/><Relationship Id="rId3" Type="http://schemas.openxmlformats.org/officeDocument/2006/relationships/image" Target="../media/image99.png"/><Relationship Id="rId7" Type="http://schemas.openxmlformats.org/officeDocument/2006/relationships/hyperlink" Target="https://www.ibisworld.com/united-states/market-research-reports/chain-restaurants-industry/" TargetMode="External"/><Relationship Id="rId2" Type="http://schemas.microsoft.com/office/2014/relationships/chartEx" Target="../charts/chartEx1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agriexchange.apeda.gov.in/MarketReport/Reports/Food%20Service%20-%20Hotel%20Restaurant%20Institutional_Paris_France_FR2022-0017.pdf" TargetMode="External"/><Relationship Id="rId11" Type="http://schemas.openxmlformats.org/officeDocument/2006/relationships/hyperlink" Target="https://www.ibisworld.com/united-states/market-research-reports/single-location-full-service-restaurants-industry/" TargetMode="External"/><Relationship Id="rId5" Type="http://schemas.microsoft.com/office/2014/relationships/chartEx" Target="../charts/chartEx12.xml"/><Relationship Id="rId10" Type="http://schemas.openxmlformats.org/officeDocument/2006/relationships/hyperlink" Target="https://www.marketresearch.com/IBISWorld-v2487/Food-Service-Hospitality-c169/1.html" TargetMode="External"/><Relationship Id="rId4" Type="http://schemas.openxmlformats.org/officeDocument/2006/relationships/image" Target="../media/image5.png"/><Relationship Id="rId9" Type="http://schemas.openxmlformats.org/officeDocument/2006/relationships/hyperlink" Target="https://www.ibisworld.com/paris/market-research-reports/full-service-restaurants-industry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jpeg"/><Relationship Id="rId18" Type="http://schemas.openxmlformats.org/officeDocument/2006/relationships/image" Target="../media/image20.png"/><Relationship Id="rId3" Type="http://schemas.openxmlformats.org/officeDocument/2006/relationships/chart" Target="../charts/chart1.xml"/><Relationship Id="rId21" Type="http://schemas.openxmlformats.org/officeDocument/2006/relationships/image" Target="../media/image23.png"/><Relationship Id="rId7" Type="http://schemas.openxmlformats.org/officeDocument/2006/relationships/image" Target="../media/image9.png"/><Relationship Id="rId12" Type="http://schemas.openxmlformats.org/officeDocument/2006/relationships/image" Target="../media/image14.jpeg"/><Relationship Id="rId17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jpeg"/><Relationship Id="rId24" Type="http://schemas.openxmlformats.org/officeDocument/2006/relationships/image" Target="../media/image5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10" Type="http://schemas.openxmlformats.org/officeDocument/2006/relationships/image" Target="../media/image12.jpeg"/><Relationship Id="rId19" Type="http://schemas.openxmlformats.org/officeDocument/2006/relationships/image" Target="../media/image21.png"/><Relationship Id="rId4" Type="http://schemas.openxmlformats.org/officeDocument/2006/relationships/chart" Target="../charts/chart2.xml"/><Relationship Id="rId9" Type="http://schemas.openxmlformats.org/officeDocument/2006/relationships/image" Target="../media/image11.jpeg"/><Relationship Id="rId14" Type="http://schemas.openxmlformats.org/officeDocument/2006/relationships/image" Target="../media/image16.png"/><Relationship Id="rId22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jpe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jpeg"/><Relationship Id="rId15" Type="http://schemas.openxmlformats.org/officeDocument/2006/relationships/image" Target="../media/image5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image" Target="../media/image5.png"/><Relationship Id="rId3" Type="http://schemas.openxmlformats.org/officeDocument/2006/relationships/image" Target="../media/image39.jpeg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17" Type="http://schemas.openxmlformats.org/officeDocument/2006/relationships/image" Target="../media/image53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5" Type="http://schemas.openxmlformats.org/officeDocument/2006/relationships/image" Target="../media/image51.png"/><Relationship Id="rId10" Type="http://schemas.openxmlformats.org/officeDocument/2006/relationships/image" Target="../media/image46.png"/><Relationship Id="rId19" Type="http://schemas.openxmlformats.org/officeDocument/2006/relationships/image" Target="../media/image54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Relationship Id="rId14" Type="http://schemas.openxmlformats.org/officeDocument/2006/relationships/image" Target="../media/image50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6.png"/><Relationship Id="rId18" Type="http://schemas.openxmlformats.org/officeDocument/2006/relationships/image" Target="../media/image71.png"/><Relationship Id="rId26" Type="http://schemas.openxmlformats.org/officeDocument/2006/relationships/image" Target="../media/image79.png"/><Relationship Id="rId21" Type="http://schemas.openxmlformats.org/officeDocument/2006/relationships/image" Target="../media/image74.png"/><Relationship Id="rId34" Type="http://schemas.openxmlformats.org/officeDocument/2006/relationships/image" Target="../media/image87.png"/><Relationship Id="rId7" Type="http://schemas.openxmlformats.org/officeDocument/2006/relationships/image" Target="../media/image60.png"/><Relationship Id="rId12" Type="http://schemas.openxmlformats.org/officeDocument/2006/relationships/image" Target="../media/image65.jpeg"/><Relationship Id="rId17" Type="http://schemas.openxmlformats.org/officeDocument/2006/relationships/image" Target="../media/image70.png"/><Relationship Id="rId25" Type="http://schemas.openxmlformats.org/officeDocument/2006/relationships/image" Target="../media/image78.png"/><Relationship Id="rId33" Type="http://schemas.openxmlformats.org/officeDocument/2006/relationships/image" Target="../media/image86.png"/><Relationship Id="rId2" Type="http://schemas.openxmlformats.org/officeDocument/2006/relationships/image" Target="../media/image55.jpeg"/><Relationship Id="rId16" Type="http://schemas.openxmlformats.org/officeDocument/2006/relationships/image" Target="../media/image69.png"/><Relationship Id="rId20" Type="http://schemas.openxmlformats.org/officeDocument/2006/relationships/image" Target="../media/image73.png"/><Relationship Id="rId29" Type="http://schemas.openxmlformats.org/officeDocument/2006/relationships/image" Target="../media/image8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24" Type="http://schemas.openxmlformats.org/officeDocument/2006/relationships/image" Target="../media/image77.png"/><Relationship Id="rId32" Type="http://schemas.openxmlformats.org/officeDocument/2006/relationships/image" Target="../media/image85.png"/><Relationship Id="rId37" Type="http://schemas.openxmlformats.org/officeDocument/2006/relationships/image" Target="../media/image5.png"/><Relationship Id="rId5" Type="http://schemas.openxmlformats.org/officeDocument/2006/relationships/image" Target="../media/image58.png"/><Relationship Id="rId15" Type="http://schemas.openxmlformats.org/officeDocument/2006/relationships/image" Target="../media/image68.png"/><Relationship Id="rId23" Type="http://schemas.openxmlformats.org/officeDocument/2006/relationships/image" Target="../media/image76.png"/><Relationship Id="rId28" Type="http://schemas.openxmlformats.org/officeDocument/2006/relationships/image" Target="../media/image81.png"/><Relationship Id="rId36" Type="http://schemas.openxmlformats.org/officeDocument/2006/relationships/image" Target="../media/image89.jpeg"/><Relationship Id="rId10" Type="http://schemas.openxmlformats.org/officeDocument/2006/relationships/image" Target="../media/image63.png"/><Relationship Id="rId19" Type="http://schemas.openxmlformats.org/officeDocument/2006/relationships/image" Target="../media/image72.png"/><Relationship Id="rId31" Type="http://schemas.openxmlformats.org/officeDocument/2006/relationships/image" Target="../media/image84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Relationship Id="rId14" Type="http://schemas.openxmlformats.org/officeDocument/2006/relationships/image" Target="../media/image67.png"/><Relationship Id="rId22" Type="http://schemas.openxmlformats.org/officeDocument/2006/relationships/image" Target="../media/image75.png"/><Relationship Id="rId27" Type="http://schemas.openxmlformats.org/officeDocument/2006/relationships/image" Target="../media/image80.png"/><Relationship Id="rId30" Type="http://schemas.openxmlformats.org/officeDocument/2006/relationships/image" Target="../media/image83.png"/><Relationship Id="rId35" Type="http://schemas.openxmlformats.org/officeDocument/2006/relationships/image" Target="../media/image88.jpeg"/><Relationship Id="rId8" Type="http://schemas.openxmlformats.org/officeDocument/2006/relationships/image" Target="../media/image61.png"/><Relationship Id="rId3" Type="http://schemas.openxmlformats.org/officeDocument/2006/relationships/image" Target="../media/image5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microsoft.com/office/2014/relationships/chartEx" Target="../charts/chartEx1.xml"/><Relationship Id="rId7" Type="http://schemas.openxmlformats.org/officeDocument/2006/relationships/image" Target="../media/image92.png"/><Relationship Id="rId12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5.png"/><Relationship Id="rId10" Type="http://schemas.openxmlformats.org/officeDocument/2006/relationships/image" Target="../media/image95.png"/><Relationship Id="rId4" Type="http://schemas.openxmlformats.org/officeDocument/2006/relationships/image" Target="../media/image90.png"/><Relationship Id="rId9" Type="http://schemas.openxmlformats.org/officeDocument/2006/relationships/image" Target="../media/image9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microsoft.com/office/2014/relationships/chartEx" Target="../charts/chartEx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microsoft.com/office/2014/relationships/chartEx" Target="../charts/chartEx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10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59566ED-45A1-6DE3-1BE0-AF4921CF51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E6ACC48-8C59-CBDA-9509-DC32C333C2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F54EBF1-E37F-408E-864F-D93E04BFB6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9749" y="211373"/>
            <a:ext cx="601441" cy="56606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972D06B-D7A1-82CE-1476-63E524AFB2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725029-7348-34D5-5969-11D7E774FF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0559" y="0"/>
            <a:ext cx="601441" cy="5660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44E037-A393-50A6-ACF8-BC809ECE2CD7}"/>
              </a:ext>
            </a:extLst>
          </p:cNvPr>
          <p:cNvSpPr txBox="1"/>
          <p:nvPr/>
        </p:nvSpPr>
        <p:spPr>
          <a:xfrm>
            <a:off x="3154680" y="4673599"/>
            <a:ext cx="58826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>
                <a:solidFill>
                  <a:schemeClr val="bg1">
                    <a:lumMod val="95000"/>
                  </a:schemeClr>
                </a:solidFill>
              </a:rPr>
              <a:t>SHAHEED SUKHDEV COLLEGE OF BUSINESS STUDIES, UNIVERSITY OF DELHI</a:t>
            </a:r>
          </a:p>
        </p:txBody>
      </p:sp>
    </p:spTree>
    <p:extLst>
      <p:ext uri="{BB962C8B-B14F-4D97-AF65-F5344CB8AC3E}">
        <p14:creationId xmlns:p14="http://schemas.microsoft.com/office/powerpoint/2010/main" val="40538212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E004F6-FA6D-DF91-E0A3-45E96FD956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object 65">
            <a:extLst>
              <a:ext uri="{FF2B5EF4-FFF2-40B4-BE49-F238E27FC236}">
                <a16:creationId xmlns:a16="http://schemas.microsoft.com/office/drawing/2014/main" id="{2762BDE8-16F0-2CC0-BD03-2FD5F55164FA}"/>
              </a:ext>
            </a:extLst>
          </p:cNvPr>
          <p:cNvSpPr txBox="1"/>
          <p:nvPr/>
        </p:nvSpPr>
        <p:spPr>
          <a:xfrm>
            <a:off x="88899" y="88867"/>
            <a:ext cx="10254993" cy="707886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40"/>
              </a:spcBef>
            </a:pPr>
            <a:r>
              <a:rPr lang="en-US" sz="2300" b="1">
                <a:latin typeface="Calibri"/>
                <a:cs typeface="Calibri"/>
              </a:rPr>
              <a:t>APPENDIX</a:t>
            </a: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r>
              <a:rPr lang="en-US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Calculating the TAM, SAM &amp; SOM</a:t>
            </a:r>
            <a:endParaRPr lang="en-IN" sz="1600" i="1">
              <a:solidFill>
                <a:schemeClr val="bg1">
                  <a:lumMod val="6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61" name="object 81">
            <a:extLst>
              <a:ext uri="{FF2B5EF4-FFF2-40B4-BE49-F238E27FC236}">
                <a16:creationId xmlns:a16="http://schemas.microsoft.com/office/drawing/2014/main" id="{B5DA7CBC-0841-9FAB-0591-62CC4367CF82}"/>
              </a:ext>
            </a:extLst>
          </p:cNvPr>
          <p:cNvSpPr txBox="1">
            <a:spLocks/>
          </p:cNvSpPr>
          <p:nvPr/>
        </p:nvSpPr>
        <p:spPr>
          <a:xfrm>
            <a:off x="11732386" y="650354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US" spc="-50"/>
              <a:t>3</a:t>
            </a:r>
            <a:endParaRPr lang="en-IN" spc="-50"/>
          </a:p>
        </p:txBody>
      </p:sp>
      <p:sp>
        <p:nvSpPr>
          <p:cNvPr id="82" name="object 2">
            <a:extLst>
              <a:ext uri="{FF2B5EF4-FFF2-40B4-BE49-F238E27FC236}">
                <a16:creationId xmlns:a16="http://schemas.microsoft.com/office/drawing/2014/main" id="{EEE97C47-2557-09FF-9504-E5AA5E89D372}"/>
              </a:ext>
            </a:extLst>
          </p:cNvPr>
          <p:cNvSpPr/>
          <p:nvPr/>
        </p:nvSpPr>
        <p:spPr>
          <a:xfrm>
            <a:off x="10046982" y="6385872"/>
            <a:ext cx="1393787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535A511-73E8-387C-81B9-81A145B73583}"/>
              </a:ext>
            </a:extLst>
          </p:cNvPr>
          <p:cNvSpPr/>
          <p:nvPr/>
        </p:nvSpPr>
        <p:spPr>
          <a:xfrm>
            <a:off x="10700238" y="201557"/>
            <a:ext cx="1380127" cy="5398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4" name="Chart 3">
                <a:extLst>
                  <a:ext uri="{FF2B5EF4-FFF2-40B4-BE49-F238E27FC236}">
                    <a16:creationId xmlns:a16="http://schemas.microsoft.com/office/drawing/2014/main" id="{506E17D6-5BEE-D106-23A9-BEEAA723563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528434870"/>
                  </p:ext>
                </p:extLst>
              </p:nvPr>
            </p:nvGraphicFramePr>
            <p:xfrm>
              <a:off x="2032000" y="719666"/>
              <a:ext cx="8128000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4" name="Chart 3">
                <a:extLst>
                  <a:ext uri="{FF2B5EF4-FFF2-40B4-BE49-F238E27FC236}">
                    <a16:creationId xmlns:a16="http://schemas.microsoft.com/office/drawing/2014/main" id="{506E17D6-5BEE-D106-23A9-BEEAA723563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032000" y="719666"/>
                <a:ext cx="8128000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2" name="Rectangle 1">
            <a:extLst>
              <a:ext uri="{FF2B5EF4-FFF2-40B4-BE49-F238E27FC236}">
                <a16:creationId xmlns:a16="http://schemas.microsoft.com/office/drawing/2014/main" id="{7254B790-093F-69A4-6BB2-CC4BCDA95056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F412FF-6EEB-51A8-F470-D571EFF1F373}"/>
              </a:ext>
            </a:extLst>
          </p:cNvPr>
          <p:cNvSpPr/>
          <p:nvPr/>
        </p:nvSpPr>
        <p:spPr>
          <a:xfrm>
            <a:off x="500470" y="1425136"/>
            <a:ext cx="6233428" cy="40287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8C77DD-62DE-D137-6989-8ABE2C29D19A}"/>
              </a:ext>
            </a:extLst>
          </p:cNvPr>
          <p:cNvSpPr txBox="1"/>
          <p:nvPr/>
        </p:nvSpPr>
        <p:spPr>
          <a:xfrm>
            <a:off x="728141" y="1458552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CATEGOR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F1EE4F0-E1C9-7B43-F559-C1C70C2BCFDE}"/>
              </a:ext>
            </a:extLst>
          </p:cNvPr>
          <p:cNvSpPr txBox="1"/>
          <p:nvPr/>
        </p:nvSpPr>
        <p:spPr>
          <a:xfrm>
            <a:off x="4771254" y="1437923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CALCUL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AF8DC5-083E-B76C-1E5C-8FDEAB4297EF}"/>
              </a:ext>
            </a:extLst>
          </p:cNvPr>
          <p:cNvSpPr txBox="1"/>
          <p:nvPr/>
        </p:nvSpPr>
        <p:spPr>
          <a:xfrm>
            <a:off x="8538381" y="1187561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ELABORATIV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E2C2A6A-89B4-D43D-E2EA-D5D030D22C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9749" y="211373"/>
            <a:ext cx="601441" cy="56606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0245D7E-703C-5305-F809-1B77A5A6EE00}"/>
              </a:ext>
            </a:extLst>
          </p:cNvPr>
          <p:cNvSpPr txBox="1"/>
          <p:nvPr/>
        </p:nvSpPr>
        <p:spPr>
          <a:xfrm>
            <a:off x="932641" y="1070825"/>
            <a:ext cx="6295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/>
              <a:t>CALCULATING SERVICEABLE ADDRESSABLE  MARKE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DF921F-1F15-8903-17E9-8153A37F2F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107" y="1825650"/>
            <a:ext cx="6113431" cy="390319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20CE45E-9438-C2C5-43E4-1E48322841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3898" y="3294549"/>
            <a:ext cx="5199914" cy="1353667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CFE1DD6-6CAC-B3A3-8A0F-DB2DAEEC7174}"/>
              </a:ext>
            </a:extLst>
          </p:cNvPr>
          <p:cNvCxnSpPr/>
          <p:nvPr/>
        </p:nvCxnSpPr>
        <p:spPr>
          <a:xfrm>
            <a:off x="6795083" y="4102217"/>
            <a:ext cx="5138729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F3B46EE-B5C8-95B3-8B4D-CC35FBD31E6A}"/>
              </a:ext>
            </a:extLst>
          </p:cNvPr>
          <p:cNvCxnSpPr/>
          <p:nvPr/>
        </p:nvCxnSpPr>
        <p:spPr>
          <a:xfrm>
            <a:off x="6767646" y="4481120"/>
            <a:ext cx="5138729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5" name="Chart 24">
                <a:extLst>
                  <a:ext uri="{FF2B5EF4-FFF2-40B4-BE49-F238E27FC236}">
                    <a16:creationId xmlns:a16="http://schemas.microsoft.com/office/drawing/2014/main" id="{FC5A30EC-84A6-EDF9-3575-0AD4CB3A9B9A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632654309"/>
                  </p:ext>
                </p:extLst>
              </p:nvPr>
            </p:nvGraphicFramePr>
            <p:xfrm>
              <a:off x="2184400" y="872066"/>
              <a:ext cx="8128000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7"/>
              </a:graphicData>
            </a:graphic>
          </p:graphicFrame>
        </mc:Choice>
        <mc:Fallback xmlns="">
          <p:pic>
            <p:nvPicPr>
              <p:cNvPr id="25" name="Chart 24">
                <a:extLst>
                  <a:ext uri="{FF2B5EF4-FFF2-40B4-BE49-F238E27FC236}">
                    <a16:creationId xmlns:a16="http://schemas.microsoft.com/office/drawing/2014/main" id="{FC5A30EC-84A6-EDF9-3575-0AD4CB3A9B9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184400" y="872066"/>
                <a:ext cx="8128000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26" name="TextBox 25">
            <a:extLst>
              <a:ext uri="{FF2B5EF4-FFF2-40B4-BE49-F238E27FC236}">
                <a16:creationId xmlns:a16="http://schemas.microsoft.com/office/drawing/2014/main" id="{61198401-D9F9-3867-91FA-209FAAB65751}"/>
              </a:ext>
            </a:extLst>
          </p:cNvPr>
          <p:cNvSpPr txBox="1"/>
          <p:nvPr/>
        </p:nvSpPr>
        <p:spPr>
          <a:xfrm>
            <a:off x="6860022" y="2487128"/>
            <a:ext cx="6295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/>
              <a:t>CALCULATING SERVICEABLE OBTAINABLE MARKE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E296853-2490-ADD1-CC8B-D79BEF814567}"/>
              </a:ext>
            </a:extLst>
          </p:cNvPr>
          <p:cNvSpPr/>
          <p:nvPr/>
        </p:nvSpPr>
        <p:spPr>
          <a:xfrm>
            <a:off x="6738292" y="2941601"/>
            <a:ext cx="5199915" cy="33149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8" name="Chart 27">
                <a:extLst>
                  <a:ext uri="{FF2B5EF4-FFF2-40B4-BE49-F238E27FC236}">
                    <a16:creationId xmlns:a16="http://schemas.microsoft.com/office/drawing/2014/main" id="{405E5A74-9C7C-666F-345B-AD60BBC6E8C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792069436"/>
                  </p:ext>
                </p:extLst>
              </p:nvPr>
            </p:nvGraphicFramePr>
            <p:xfrm>
              <a:off x="2336800" y="1024466"/>
              <a:ext cx="8128000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 xmlns="">
          <p:pic>
            <p:nvPicPr>
              <p:cNvPr id="28" name="Chart 27">
                <a:extLst>
                  <a:ext uri="{FF2B5EF4-FFF2-40B4-BE49-F238E27FC236}">
                    <a16:creationId xmlns:a16="http://schemas.microsoft.com/office/drawing/2014/main" id="{405E5A74-9C7C-666F-345B-AD60BBC6E8C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336800" y="1024466"/>
                <a:ext cx="8128000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29" name="TextBox 28">
            <a:extLst>
              <a:ext uri="{FF2B5EF4-FFF2-40B4-BE49-F238E27FC236}">
                <a16:creationId xmlns:a16="http://schemas.microsoft.com/office/drawing/2014/main" id="{47EA0936-0F6F-4E4D-9C33-BFEE3D4E975C}"/>
              </a:ext>
            </a:extLst>
          </p:cNvPr>
          <p:cNvSpPr txBox="1"/>
          <p:nvPr/>
        </p:nvSpPr>
        <p:spPr>
          <a:xfrm>
            <a:off x="7438021" y="2933261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CATEGOR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17B40C7-611D-E29A-82BB-21CBE8B63C20}"/>
              </a:ext>
            </a:extLst>
          </p:cNvPr>
          <p:cNvSpPr txBox="1"/>
          <p:nvPr/>
        </p:nvSpPr>
        <p:spPr>
          <a:xfrm>
            <a:off x="10324570" y="2940434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CALCULA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5B08489-07E9-A390-759E-378CF916482A}"/>
              </a:ext>
            </a:extLst>
          </p:cNvPr>
          <p:cNvSpPr txBox="1"/>
          <p:nvPr/>
        </p:nvSpPr>
        <p:spPr>
          <a:xfrm>
            <a:off x="10303083" y="6452246"/>
            <a:ext cx="1239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C00000"/>
                </a:solidFill>
              </a:rPr>
              <a:t>Appendix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EA3D3F4-7346-8863-A6A8-C236EAE9061A}"/>
              </a:ext>
            </a:extLst>
          </p:cNvPr>
          <p:cNvSpPr txBox="1"/>
          <p:nvPr/>
        </p:nvSpPr>
        <p:spPr>
          <a:xfrm>
            <a:off x="397092" y="6441627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Research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1427EAE-5182-0420-DC5B-A97A334C398E}"/>
              </a:ext>
            </a:extLst>
          </p:cNvPr>
          <p:cNvSpPr txBox="1"/>
          <p:nvPr/>
        </p:nvSpPr>
        <p:spPr>
          <a:xfrm>
            <a:off x="2067459" y="6441730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Entry Strateg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F4744C8-39C2-A601-A9CF-09C887C3DD49}"/>
              </a:ext>
            </a:extLst>
          </p:cNvPr>
          <p:cNvSpPr txBox="1"/>
          <p:nvPr/>
        </p:nvSpPr>
        <p:spPr>
          <a:xfrm>
            <a:off x="4141781" y="6452763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Customer Value Proposi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65F870E-6629-8857-6F73-3C6A7F865A8C}"/>
              </a:ext>
            </a:extLst>
          </p:cNvPr>
          <p:cNvSpPr txBox="1"/>
          <p:nvPr/>
        </p:nvSpPr>
        <p:spPr>
          <a:xfrm>
            <a:off x="6623801" y="6460634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ing &amp; Promo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FFD2F99-2D24-D524-5A20-186FD700B064}"/>
              </a:ext>
            </a:extLst>
          </p:cNvPr>
          <p:cNvSpPr txBox="1"/>
          <p:nvPr/>
        </p:nvSpPr>
        <p:spPr>
          <a:xfrm>
            <a:off x="8689690" y="6466466"/>
            <a:ext cx="1296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Size &amp; Timelin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339B5C6-E04A-CDD4-C6A0-22EE51D4C903}"/>
              </a:ext>
            </a:extLst>
          </p:cNvPr>
          <p:cNvSpPr txBox="1"/>
          <p:nvPr/>
        </p:nvSpPr>
        <p:spPr>
          <a:xfrm>
            <a:off x="5129783" y="2606381"/>
            <a:ext cx="1180560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N" sz="1600" b="1"/>
              <a:t>$700 M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9F5FE38-4C7A-EF55-0746-808E28E3D3B1}"/>
              </a:ext>
            </a:extLst>
          </p:cNvPr>
          <p:cNvSpPr txBox="1"/>
          <p:nvPr/>
        </p:nvSpPr>
        <p:spPr>
          <a:xfrm>
            <a:off x="1167791" y="2606381"/>
            <a:ext cx="1317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/>
              <a:t>(Around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3D13B71-7A50-66EB-1EEF-5EE0E45BFA29}"/>
              </a:ext>
            </a:extLst>
          </p:cNvPr>
          <p:cNvSpPr/>
          <p:nvPr/>
        </p:nvSpPr>
        <p:spPr>
          <a:xfrm>
            <a:off x="5216395" y="4912468"/>
            <a:ext cx="960669" cy="26264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b="1">
                <a:solidFill>
                  <a:schemeClr val="tx1"/>
                </a:solidFill>
              </a:rPr>
              <a:t>$1.75Bn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1630268-5D51-30B0-E665-97A03A5242F4}"/>
              </a:ext>
            </a:extLst>
          </p:cNvPr>
          <p:cNvCxnSpPr/>
          <p:nvPr/>
        </p:nvCxnSpPr>
        <p:spPr>
          <a:xfrm>
            <a:off x="16436" y="30410"/>
            <a:ext cx="0" cy="688115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1DBCD07-7418-9C76-86C3-59493FFDEE87}"/>
              </a:ext>
            </a:extLst>
          </p:cNvPr>
          <p:cNvCxnSpPr>
            <a:cxnSpLocks/>
          </p:cNvCxnSpPr>
          <p:nvPr/>
        </p:nvCxnSpPr>
        <p:spPr>
          <a:xfrm>
            <a:off x="12171651" y="0"/>
            <a:ext cx="0" cy="6932826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4B44786-F8DD-2D24-ED3D-C8F5E1234D09}"/>
              </a:ext>
            </a:extLst>
          </p:cNvPr>
          <p:cNvCxnSpPr>
            <a:cxnSpLocks/>
          </p:cNvCxnSpPr>
          <p:nvPr/>
        </p:nvCxnSpPr>
        <p:spPr>
          <a:xfrm flipH="1">
            <a:off x="11109" y="6841021"/>
            <a:ext cx="1216054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90046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9C247D-C87E-6A63-F525-ADF1DA397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object 65">
            <a:extLst>
              <a:ext uri="{FF2B5EF4-FFF2-40B4-BE49-F238E27FC236}">
                <a16:creationId xmlns:a16="http://schemas.microsoft.com/office/drawing/2014/main" id="{92AFC9B3-4C75-4A12-45D7-68542959B719}"/>
              </a:ext>
            </a:extLst>
          </p:cNvPr>
          <p:cNvSpPr txBox="1"/>
          <p:nvPr/>
        </p:nvSpPr>
        <p:spPr>
          <a:xfrm>
            <a:off x="88899" y="88867"/>
            <a:ext cx="10254993" cy="707886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40"/>
              </a:spcBef>
            </a:pPr>
            <a:r>
              <a:rPr lang="en-US" sz="2300" b="1">
                <a:latin typeface="Calibri"/>
                <a:cs typeface="Calibri"/>
              </a:rPr>
              <a:t>APPENDIX</a:t>
            </a: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r>
              <a:rPr lang="en-US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Calculating the Cost of Restaurant</a:t>
            </a:r>
            <a:endParaRPr lang="en-IN" sz="1600" i="1">
              <a:solidFill>
                <a:schemeClr val="bg1">
                  <a:lumMod val="6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61" name="object 81">
            <a:extLst>
              <a:ext uri="{FF2B5EF4-FFF2-40B4-BE49-F238E27FC236}">
                <a16:creationId xmlns:a16="http://schemas.microsoft.com/office/drawing/2014/main" id="{F0515BEA-5B9B-6A31-0A68-7EC18BD73543}"/>
              </a:ext>
            </a:extLst>
          </p:cNvPr>
          <p:cNvSpPr txBox="1">
            <a:spLocks/>
          </p:cNvSpPr>
          <p:nvPr/>
        </p:nvSpPr>
        <p:spPr>
          <a:xfrm>
            <a:off x="11732386" y="650354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US" spc="-50"/>
              <a:t>4</a:t>
            </a:r>
            <a:endParaRPr lang="en-IN" spc="-50"/>
          </a:p>
        </p:txBody>
      </p:sp>
      <p:sp>
        <p:nvSpPr>
          <p:cNvPr id="82" name="object 2">
            <a:extLst>
              <a:ext uri="{FF2B5EF4-FFF2-40B4-BE49-F238E27FC236}">
                <a16:creationId xmlns:a16="http://schemas.microsoft.com/office/drawing/2014/main" id="{5E841061-7B1F-3710-606A-E9F7D386122C}"/>
              </a:ext>
            </a:extLst>
          </p:cNvPr>
          <p:cNvSpPr/>
          <p:nvPr/>
        </p:nvSpPr>
        <p:spPr>
          <a:xfrm>
            <a:off x="10087622" y="6385872"/>
            <a:ext cx="1393787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A54724-0337-D0B9-4BF2-7CD7D1C9F4B0}"/>
              </a:ext>
            </a:extLst>
          </p:cNvPr>
          <p:cNvSpPr/>
          <p:nvPr/>
        </p:nvSpPr>
        <p:spPr>
          <a:xfrm>
            <a:off x="10700238" y="201557"/>
            <a:ext cx="1380127" cy="5398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4" name="Chart 3">
                <a:extLst>
                  <a:ext uri="{FF2B5EF4-FFF2-40B4-BE49-F238E27FC236}">
                    <a16:creationId xmlns:a16="http://schemas.microsoft.com/office/drawing/2014/main" id="{332DB568-6C85-D788-3896-5D7B374633E2}"/>
                  </a:ext>
                </a:extLst>
              </p:cNvPr>
              <p:cNvGraphicFramePr/>
              <p:nvPr/>
            </p:nvGraphicFramePr>
            <p:xfrm>
              <a:off x="2032000" y="719666"/>
              <a:ext cx="8128000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4" name="Chart 3">
                <a:extLst>
                  <a:ext uri="{FF2B5EF4-FFF2-40B4-BE49-F238E27FC236}">
                    <a16:creationId xmlns:a16="http://schemas.microsoft.com/office/drawing/2014/main" id="{332DB568-6C85-D788-3896-5D7B374633E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032000" y="719666"/>
                <a:ext cx="8128000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2" name="Rectangle 1">
            <a:extLst>
              <a:ext uri="{FF2B5EF4-FFF2-40B4-BE49-F238E27FC236}">
                <a16:creationId xmlns:a16="http://schemas.microsoft.com/office/drawing/2014/main" id="{D57DC479-AE37-A037-FA60-9FCC68342FBF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55D1840-5413-813B-7F07-FE8D49D25111}"/>
              </a:ext>
            </a:extLst>
          </p:cNvPr>
          <p:cNvSpPr txBox="1"/>
          <p:nvPr/>
        </p:nvSpPr>
        <p:spPr>
          <a:xfrm>
            <a:off x="4771254" y="1437923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CALCUL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E6827D1-8FF5-AAAD-4AE6-55226A9965F1}"/>
              </a:ext>
            </a:extLst>
          </p:cNvPr>
          <p:cNvSpPr txBox="1"/>
          <p:nvPr/>
        </p:nvSpPr>
        <p:spPr>
          <a:xfrm>
            <a:off x="8538381" y="1187561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ELABORATIV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4B0FE47-E581-FD8D-38E9-99A2CB66EF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9749" y="211373"/>
            <a:ext cx="601441" cy="566062"/>
          </a:xfrm>
          <a:prstGeom prst="rect">
            <a:avLst/>
          </a:prstGeom>
        </p:spPr>
      </p:pic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8" name="Chart 27">
                <a:extLst>
                  <a:ext uri="{FF2B5EF4-FFF2-40B4-BE49-F238E27FC236}">
                    <a16:creationId xmlns:a16="http://schemas.microsoft.com/office/drawing/2014/main" id="{EFD00DD8-BE7B-1B08-6B35-6461DF066A7E}"/>
                  </a:ext>
                </a:extLst>
              </p:cNvPr>
              <p:cNvGraphicFramePr/>
              <p:nvPr/>
            </p:nvGraphicFramePr>
            <p:xfrm>
              <a:off x="2336800" y="1024466"/>
              <a:ext cx="8128000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28" name="Chart 27">
                <a:extLst>
                  <a:ext uri="{FF2B5EF4-FFF2-40B4-BE49-F238E27FC236}">
                    <a16:creationId xmlns:a16="http://schemas.microsoft.com/office/drawing/2014/main" id="{EFD00DD8-BE7B-1B08-6B35-6461DF066A7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336800" y="1024466"/>
                <a:ext cx="8128000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29" name="TextBox 28">
            <a:extLst>
              <a:ext uri="{FF2B5EF4-FFF2-40B4-BE49-F238E27FC236}">
                <a16:creationId xmlns:a16="http://schemas.microsoft.com/office/drawing/2014/main" id="{C7F631D2-FC6E-8F37-DAB4-0218F69B21A8}"/>
              </a:ext>
            </a:extLst>
          </p:cNvPr>
          <p:cNvSpPr txBox="1"/>
          <p:nvPr/>
        </p:nvSpPr>
        <p:spPr>
          <a:xfrm>
            <a:off x="7438021" y="2933261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CATEGOR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6D99B8B-E822-8B27-634A-8123A751347C}"/>
              </a:ext>
            </a:extLst>
          </p:cNvPr>
          <p:cNvSpPr txBox="1"/>
          <p:nvPr/>
        </p:nvSpPr>
        <p:spPr>
          <a:xfrm>
            <a:off x="10303083" y="6452246"/>
            <a:ext cx="1239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C00000"/>
                </a:solidFill>
              </a:rPr>
              <a:t>Appendix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9DB7B57-6F6D-DEE8-AE46-535DC1C5C44F}"/>
              </a:ext>
            </a:extLst>
          </p:cNvPr>
          <p:cNvSpPr txBox="1"/>
          <p:nvPr/>
        </p:nvSpPr>
        <p:spPr>
          <a:xfrm>
            <a:off x="397092" y="6441627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Research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F6309B9-AB12-8B90-7875-2DC2763FD433}"/>
              </a:ext>
            </a:extLst>
          </p:cNvPr>
          <p:cNvSpPr txBox="1"/>
          <p:nvPr/>
        </p:nvSpPr>
        <p:spPr>
          <a:xfrm>
            <a:off x="2067459" y="6441730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Entry Strateg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D2DD2A4-B53C-F7B0-9609-779511864116}"/>
              </a:ext>
            </a:extLst>
          </p:cNvPr>
          <p:cNvSpPr txBox="1"/>
          <p:nvPr/>
        </p:nvSpPr>
        <p:spPr>
          <a:xfrm>
            <a:off x="4141781" y="6452763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Customer Value Proposi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15FE156-C8B1-C5EB-0752-604023035D6F}"/>
              </a:ext>
            </a:extLst>
          </p:cNvPr>
          <p:cNvSpPr txBox="1"/>
          <p:nvPr/>
        </p:nvSpPr>
        <p:spPr>
          <a:xfrm>
            <a:off x="6623801" y="6460634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ing &amp; Promo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F87B2C4-CEE4-1E97-853A-3685B9ED632F}"/>
              </a:ext>
            </a:extLst>
          </p:cNvPr>
          <p:cNvSpPr txBox="1"/>
          <p:nvPr/>
        </p:nvSpPr>
        <p:spPr>
          <a:xfrm>
            <a:off x="8689690" y="6466466"/>
            <a:ext cx="1296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Size &amp; Timel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AB6AF5-C02E-439F-06E7-9B0000B64DE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7967" y="2034968"/>
            <a:ext cx="7687748" cy="322942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F54C9FB-4ECD-85B8-C4A9-2F227731D4C4}"/>
              </a:ext>
            </a:extLst>
          </p:cNvPr>
          <p:cNvSpPr/>
          <p:nvPr/>
        </p:nvSpPr>
        <p:spPr>
          <a:xfrm>
            <a:off x="2297967" y="1607337"/>
            <a:ext cx="7687748" cy="40287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FEA41C-EA43-A9FA-B7A1-2EE33611D360}"/>
              </a:ext>
            </a:extLst>
          </p:cNvPr>
          <p:cNvSpPr txBox="1"/>
          <p:nvPr/>
        </p:nvSpPr>
        <p:spPr>
          <a:xfrm>
            <a:off x="2666124" y="1652794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CATEGOR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58A60C-3664-38F5-2694-7531C0237218}"/>
              </a:ext>
            </a:extLst>
          </p:cNvPr>
          <p:cNvSpPr txBox="1"/>
          <p:nvPr/>
        </p:nvSpPr>
        <p:spPr>
          <a:xfrm>
            <a:off x="5332160" y="1671089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DETAIL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3445009-0EB1-DD1F-1C32-3BAF649CFAE5}"/>
              </a:ext>
            </a:extLst>
          </p:cNvPr>
          <p:cNvSpPr txBox="1"/>
          <p:nvPr/>
        </p:nvSpPr>
        <p:spPr>
          <a:xfrm>
            <a:off x="9122465" y="1701294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COS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DF2DAEA-2856-4E99-8B1E-527B176AA957}"/>
              </a:ext>
            </a:extLst>
          </p:cNvPr>
          <p:cNvCxnSpPr/>
          <p:nvPr/>
        </p:nvCxnSpPr>
        <p:spPr>
          <a:xfrm>
            <a:off x="16436" y="30410"/>
            <a:ext cx="0" cy="688115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CC044F8-2E99-E462-1C0C-0904DCCF6FE2}"/>
              </a:ext>
            </a:extLst>
          </p:cNvPr>
          <p:cNvCxnSpPr>
            <a:cxnSpLocks/>
          </p:cNvCxnSpPr>
          <p:nvPr/>
        </p:nvCxnSpPr>
        <p:spPr>
          <a:xfrm>
            <a:off x="12171651" y="0"/>
            <a:ext cx="0" cy="6932826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F814E01-C3F2-9A93-43F9-A9AE39D9317B}"/>
              </a:ext>
            </a:extLst>
          </p:cNvPr>
          <p:cNvCxnSpPr>
            <a:cxnSpLocks/>
          </p:cNvCxnSpPr>
          <p:nvPr/>
        </p:nvCxnSpPr>
        <p:spPr>
          <a:xfrm flipH="1">
            <a:off x="11109" y="6841021"/>
            <a:ext cx="1216054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23539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848E51-CE14-E06D-3F65-209BCAC3B7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object 65">
            <a:extLst>
              <a:ext uri="{FF2B5EF4-FFF2-40B4-BE49-F238E27FC236}">
                <a16:creationId xmlns:a16="http://schemas.microsoft.com/office/drawing/2014/main" id="{C43CF3C8-73D7-7B8A-09DA-7D9D8B5D434A}"/>
              </a:ext>
            </a:extLst>
          </p:cNvPr>
          <p:cNvSpPr txBox="1"/>
          <p:nvPr/>
        </p:nvSpPr>
        <p:spPr>
          <a:xfrm>
            <a:off x="88899" y="88867"/>
            <a:ext cx="10254993" cy="707886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40"/>
              </a:spcBef>
            </a:pPr>
            <a:r>
              <a:rPr lang="en-US" sz="2300" b="1">
                <a:latin typeface="Calibri"/>
                <a:cs typeface="Calibri"/>
              </a:rPr>
              <a:t>APPENDIX</a:t>
            </a: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r>
              <a:rPr lang="en-US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Calculating the time to reach Profitability</a:t>
            </a:r>
            <a:endParaRPr lang="en-IN" sz="1600" i="1">
              <a:solidFill>
                <a:schemeClr val="bg1">
                  <a:lumMod val="6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61" name="object 81">
            <a:extLst>
              <a:ext uri="{FF2B5EF4-FFF2-40B4-BE49-F238E27FC236}">
                <a16:creationId xmlns:a16="http://schemas.microsoft.com/office/drawing/2014/main" id="{6BAD3041-59F4-08C3-D21A-19E7C152DD16}"/>
              </a:ext>
            </a:extLst>
          </p:cNvPr>
          <p:cNvSpPr txBox="1">
            <a:spLocks/>
          </p:cNvSpPr>
          <p:nvPr/>
        </p:nvSpPr>
        <p:spPr>
          <a:xfrm>
            <a:off x="11732386" y="650354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US" spc="-50"/>
              <a:t>5</a:t>
            </a:r>
            <a:endParaRPr lang="en-IN" spc="-50"/>
          </a:p>
        </p:txBody>
      </p:sp>
      <p:sp>
        <p:nvSpPr>
          <p:cNvPr id="82" name="object 2">
            <a:extLst>
              <a:ext uri="{FF2B5EF4-FFF2-40B4-BE49-F238E27FC236}">
                <a16:creationId xmlns:a16="http://schemas.microsoft.com/office/drawing/2014/main" id="{396900EA-2790-A5F2-661F-579DCB9CC9CF}"/>
              </a:ext>
            </a:extLst>
          </p:cNvPr>
          <p:cNvSpPr/>
          <p:nvPr/>
        </p:nvSpPr>
        <p:spPr>
          <a:xfrm>
            <a:off x="10087622" y="6385872"/>
            <a:ext cx="1393787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430D4B-E814-0144-A5BF-E47A232ED390}"/>
              </a:ext>
            </a:extLst>
          </p:cNvPr>
          <p:cNvSpPr/>
          <p:nvPr/>
        </p:nvSpPr>
        <p:spPr>
          <a:xfrm>
            <a:off x="10700238" y="201557"/>
            <a:ext cx="1380127" cy="5398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4" name="Chart 3">
                <a:extLst>
                  <a:ext uri="{FF2B5EF4-FFF2-40B4-BE49-F238E27FC236}">
                    <a16:creationId xmlns:a16="http://schemas.microsoft.com/office/drawing/2014/main" id="{BECC4903-28A5-441F-FA05-26A5D14F48B7}"/>
                  </a:ext>
                </a:extLst>
              </p:cNvPr>
              <p:cNvGraphicFramePr/>
              <p:nvPr/>
            </p:nvGraphicFramePr>
            <p:xfrm>
              <a:off x="2032000" y="719666"/>
              <a:ext cx="8128000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4" name="Chart 3">
                <a:extLst>
                  <a:ext uri="{FF2B5EF4-FFF2-40B4-BE49-F238E27FC236}">
                    <a16:creationId xmlns:a16="http://schemas.microsoft.com/office/drawing/2014/main" id="{BECC4903-28A5-441F-FA05-26A5D14F48B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032000" y="719666"/>
                <a:ext cx="8128000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2" name="Rectangle 1">
            <a:extLst>
              <a:ext uri="{FF2B5EF4-FFF2-40B4-BE49-F238E27FC236}">
                <a16:creationId xmlns:a16="http://schemas.microsoft.com/office/drawing/2014/main" id="{9EE02A36-F854-B0E7-AD17-1B957247AF59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6A8A0DA-C8BF-4EAA-2C6C-F2B88E45A490}"/>
              </a:ext>
            </a:extLst>
          </p:cNvPr>
          <p:cNvSpPr txBox="1"/>
          <p:nvPr/>
        </p:nvSpPr>
        <p:spPr>
          <a:xfrm>
            <a:off x="4771254" y="1437923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CALCULATION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148017-96F8-657D-DFD2-F638CC7887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9749" y="211373"/>
            <a:ext cx="601441" cy="566062"/>
          </a:xfrm>
          <a:prstGeom prst="rect">
            <a:avLst/>
          </a:prstGeom>
        </p:spPr>
      </p:pic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8" name="Chart 27">
                <a:extLst>
                  <a:ext uri="{FF2B5EF4-FFF2-40B4-BE49-F238E27FC236}">
                    <a16:creationId xmlns:a16="http://schemas.microsoft.com/office/drawing/2014/main" id="{4B466399-878F-52B7-60E4-AD62DA0B0A66}"/>
                  </a:ext>
                </a:extLst>
              </p:cNvPr>
              <p:cNvGraphicFramePr/>
              <p:nvPr/>
            </p:nvGraphicFramePr>
            <p:xfrm>
              <a:off x="2336800" y="1024466"/>
              <a:ext cx="8128000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28" name="Chart 27">
                <a:extLst>
                  <a:ext uri="{FF2B5EF4-FFF2-40B4-BE49-F238E27FC236}">
                    <a16:creationId xmlns:a16="http://schemas.microsoft.com/office/drawing/2014/main" id="{4B466399-878F-52B7-60E4-AD62DA0B0A6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336800" y="1024466"/>
                <a:ext cx="8128000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29" name="TextBox 28">
            <a:extLst>
              <a:ext uri="{FF2B5EF4-FFF2-40B4-BE49-F238E27FC236}">
                <a16:creationId xmlns:a16="http://schemas.microsoft.com/office/drawing/2014/main" id="{56E58CEB-8D74-0C43-618C-8AAA5DB8115D}"/>
              </a:ext>
            </a:extLst>
          </p:cNvPr>
          <p:cNvSpPr txBox="1"/>
          <p:nvPr/>
        </p:nvSpPr>
        <p:spPr>
          <a:xfrm>
            <a:off x="7438021" y="2933261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CATEGOR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CF3BD33-C5FE-E79A-691F-AC188E68D78F}"/>
              </a:ext>
            </a:extLst>
          </p:cNvPr>
          <p:cNvSpPr txBox="1"/>
          <p:nvPr/>
        </p:nvSpPr>
        <p:spPr>
          <a:xfrm>
            <a:off x="10303083" y="6452246"/>
            <a:ext cx="1239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C00000"/>
                </a:solidFill>
              </a:rPr>
              <a:t>Appendix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58A1AA6-4DC6-4C13-4FD3-63CE8A708B58}"/>
              </a:ext>
            </a:extLst>
          </p:cNvPr>
          <p:cNvSpPr txBox="1"/>
          <p:nvPr/>
        </p:nvSpPr>
        <p:spPr>
          <a:xfrm>
            <a:off x="397092" y="6441627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Research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1F7816A-DD08-0D75-2B00-1B39ED5A1E7D}"/>
              </a:ext>
            </a:extLst>
          </p:cNvPr>
          <p:cNvSpPr txBox="1"/>
          <p:nvPr/>
        </p:nvSpPr>
        <p:spPr>
          <a:xfrm>
            <a:off x="2067459" y="6441730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Entry Strateg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7C99160-5CBC-0A6F-AE5D-BE3384E73088}"/>
              </a:ext>
            </a:extLst>
          </p:cNvPr>
          <p:cNvSpPr txBox="1"/>
          <p:nvPr/>
        </p:nvSpPr>
        <p:spPr>
          <a:xfrm>
            <a:off x="4141781" y="6452763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Customer Value Proposi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7E9FE21-C1D0-94F6-CC22-1027CD7EB2C7}"/>
              </a:ext>
            </a:extLst>
          </p:cNvPr>
          <p:cNvSpPr txBox="1"/>
          <p:nvPr/>
        </p:nvSpPr>
        <p:spPr>
          <a:xfrm>
            <a:off x="6623801" y="6460634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ing &amp; Promo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CEF2A7E-4160-5EE8-6A4B-CA24F2BDF7BF}"/>
              </a:ext>
            </a:extLst>
          </p:cNvPr>
          <p:cNvSpPr txBox="1"/>
          <p:nvPr/>
        </p:nvSpPr>
        <p:spPr>
          <a:xfrm>
            <a:off x="8689690" y="6466466"/>
            <a:ext cx="1296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Size &amp; Timelin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1968F13-8406-0C5B-6917-724F79647C61}"/>
              </a:ext>
            </a:extLst>
          </p:cNvPr>
          <p:cNvSpPr/>
          <p:nvPr/>
        </p:nvSpPr>
        <p:spPr>
          <a:xfrm>
            <a:off x="1293284" y="1617304"/>
            <a:ext cx="10393325" cy="77949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54C6FB-7861-0507-A289-C35FCDB44350}"/>
              </a:ext>
            </a:extLst>
          </p:cNvPr>
          <p:cNvSpPr txBox="1"/>
          <p:nvPr/>
        </p:nvSpPr>
        <p:spPr>
          <a:xfrm>
            <a:off x="4705924" y="1784902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Operating Expens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F070C45-3036-ACFC-9920-CCF95B579F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3399" y="2413724"/>
            <a:ext cx="10438987" cy="219203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D9D36C3-3EFC-4EDF-937E-07CF51C37767}"/>
              </a:ext>
            </a:extLst>
          </p:cNvPr>
          <p:cNvSpPr txBox="1"/>
          <p:nvPr/>
        </p:nvSpPr>
        <p:spPr>
          <a:xfrm>
            <a:off x="1791129" y="1779680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Yea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E8B49E-9549-DDE2-C443-29EF1B6A1CD1}"/>
              </a:ext>
            </a:extLst>
          </p:cNvPr>
          <p:cNvSpPr txBox="1"/>
          <p:nvPr/>
        </p:nvSpPr>
        <p:spPr>
          <a:xfrm>
            <a:off x="6832255" y="1807255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Net Profit/Los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4D6794-47F2-5036-14D3-BB1BF20546CC}"/>
              </a:ext>
            </a:extLst>
          </p:cNvPr>
          <p:cNvSpPr txBox="1"/>
          <p:nvPr/>
        </p:nvSpPr>
        <p:spPr>
          <a:xfrm>
            <a:off x="3433360" y="1777875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Revenu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ED76B9-B5A9-64CC-1877-73D573639B7F}"/>
              </a:ext>
            </a:extLst>
          </p:cNvPr>
          <p:cNvSpPr txBox="1"/>
          <p:nvPr/>
        </p:nvSpPr>
        <p:spPr>
          <a:xfrm>
            <a:off x="8772511" y="1730700"/>
            <a:ext cx="236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Cumulative </a:t>
            </a:r>
          </a:p>
          <a:p>
            <a:r>
              <a:rPr lang="en-IN" b="1">
                <a:solidFill>
                  <a:schemeClr val="bg1"/>
                </a:solidFill>
              </a:rPr>
              <a:t>Profit /los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0B4B445-4957-D6E1-57D4-9980899D37B4}"/>
              </a:ext>
            </a:extLst>
          </p:cNvPr>
          <p:cNvSpPr txBox="1"/>
          <p:nvPr/>
        </p:nvSpPr>
        <p:spPr>
          <a:xfrm>
            <a:off x="10321841" y="1818360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Statu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80C4803-0CB9-7ACF-CD40-404B2C619E2F}"/>
              </a:ext>
            </a:extLst>
          </p:cNvPr>
          <p:cNvSpPr txBox="1"/>
          <p:nvPr/>
        </p:nvSpPr>
        <p:spPr>
          <a:xfrm>
            <a:off x="1943414" y="4553281"/>
            <a:ext cx="67462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Assuming Revenue Growth By 10-11%</a:t>
            </a: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B4CFE916-D43A-F2EB-17D7-8228F63E6B85}"/>
              </a:ext>
            </a:extLst>
          </p:cNvPr>
          <p:cNvSpPr/>
          <p:nvPr/>
        </p:nvSpPr>
        <p:spPr>
          <a:xfrm>
            <a:off x="1841929" y="4646257"/>
            <a:ext cx="152285" cy="45719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BFD31E4-3A40-8577-840E-5B885FB99441}"/>
              </a:ext>
            </a:extLst>
          </p:cNvPr>
          <p:cNvCxnSpPr/>
          <p:nvPr/>
        </p:nvCxnSpPr>
        <p:spPr>
          <a:xfrm>
            <a:off x="16436" y="30410"/>
            <a:ext cx="0" cy="688115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E9085FD-6D3D-32E4-25DE-26F162DF82BB}"/>
              </a:ext>
            </a:extLst>
          </p:cNvPr>
          <p:cNvCxnSpPr>
            <a:cxnSpLocks/>
          </p:cNvCxnSpPr>
          <p:nvPr/>
        </p:nvCxnSpPr>
        <p:spPr>
          <a:xfrm>
            <a:off x="12171651" y="0"/>
            <a:ext cx="0" cy="6932826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E6F9625-6B06-D8E3-3F32-5C5AEB786B48}"/>
              </a:ext>
            </a:extLst>
          </p:cNvPr>
          <p:cNvCxnSpPr>
            <a:cxnSpLocks/>
          </p:cNvCxnSpPr>
          <p:nvPr/>
        </p:nvCxnSpPr>
        <p:spPr>
          <a:xfrm flipH="1">
            <a:off x="11109" y="6841021"/>
            <a:ext cx="1216054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DF8FF66-2D3B-8D33-7842-4C5ECFD2BD70}"/>
              </a:ext>
            </a:extLst>
          </p:cNvPr>
          <p:cNvSpPr/>
          <p:nvPr/>
        </p:nvSpPr>
        <p:spPr>
          <a:xfrm>
            <a:off x="2811294" y="2490281"/>
            <a:ext cx="350195" cy="22713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07A6510-4ABC-DAE6-E1AF-CBC2394934E1}"/>
              </a:ext>
            </a:extLst>
          </p:cNvPr>
          <p:cNvSpPr/>
          <p:nvPr/>
        </p:nvSpPr>
        <p:spPr>
          <a:xfrm>
            <a:off x="2827198" y="3234645"/>
            <a:ext cx="350195" cy="22713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3DD013F-9994-F93A-99B9-9F1F53CFCF4F}"/>
              </a:ext>
            </a:extLst>
          </p:cNvPr>
          <p:cNvSpPr/>
          <p:nvPr/>
        </p:nvSpPr>
        <p:spPr>
          <a:xfrm>
            <a:off x="4685884" y="3225156"/>
            <a:ext cx="350195" cy="22713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0948727-4083-6051-7CFE-FF79407A8696}"/>
              </a:ext>
            </a:extLst>
          </p:cNvPr>
          <p:cNvSpPr/>
          <p:nvPr/>
        </p:nvSpPr>
        <p:spPr>
          <a:xfrm>
            <a:off x="2789203" y="3929302"/>
            <a:ext cx="350195" cy="22713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2E684EC-573E-C4CD-FEBB-57933599268A}"/>
              </a:ext>
            </a:extLst>
          </p:cNvPr>
          <p:cNvSpPr/>
          <p:nvPr/>
        </p:nvSpPr>
        <p:spPr>
          <a:xfrm>
            <a:off x="6462911" y="2498058"/>
            <a:ext cx="350195" cy="22713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3A7399E-0D2B-8454-BAD2-35B60A3E48D7}"/>
              </a:ext>
            </a:extLst>
          </p:cNvPr>
          <p:cNvSpPr/>
          <p:nvPr/>
        </p:nvSpPr>
        <p:spPr>
          <a:xfrm>
            <a:off x="4705924" y="3967645"/>
            <a:ext cx="350195" cy="22713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770CF3F-D3ED-CD0A-26B1-3A2E72B7F4C8}"/>
              </a:ext>
            </a:extLst>
          </p:cNvPr>
          <p:cNvSpPr/>
          <p:nvPr/>
        </p:nvSpPr>
        <p:spPr>
          <a:xfrm>
            <a:off x="4706403" y="2470180"/>
            <a:ext cx="350195" cy="22713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0891FE8-1ED8-A345-9CF4-DE4C1F1845A7}"/>
              </a:ext>
            </a:extLst>
          </p:cNvPr>
          <p:cNvSpPr/>
          <p:nvPr/>
        </p:nvSpPr>
        <p:spPr>
          <a:xfrm>
            <a:off x="2818078" y="2865779"/>
            <a:ext cx="350195" cy="227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83CF9D-360E-BB17-B546-EB3B52E0D5D3}"/>
              </a:ext>
            </a:extLst>
          </p:cNvPr>
          <p:cNvSpPr/>
          <p:nvPr/>
        </p:nvSpPr>
        <p:spPr>
          <a:xfrm>
            <a:off x="6480809" y="3223992"/>
            <a:ext cx="350195" cy="22713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1988DC9-C05B-2985-E8CC-E7E63B0041E3}"/>
              </a:ext>
            </a:extLst>
          </p:cNvPr>
          <p:cNvSpPr/>
          <p:nvPr/>
        </p:nvSpPr>
        <p:spPr>
          <a:xfrm>
            <a:off x="6473331" y="3960806"/>
            <a:ext cx="350195" cy="22713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99B8077-57C7-B67E-3F86-A7688DE692E7}"/>
              </a:ext>
            </a:extLst>
          </p:cNvPr>
          <p:cNvSpPr/>
          <p:nvPr/>
        </p:nvSpPr>
        <p:spPr>
          <a:xfrm>
            <a:off x="8358020" y="2498057"/>
            <a:ext cx="350195" cy="22713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C3006F7-5BD5-F857-D59C-24435EEFB323}"/>
              </a:ext>
            </a:extLst>
          </p:cNvPr>
          <p:cNvSpPr/>
          <p:nvPr/>
        </p:nvSpPr>
        <p:spPr>
          <a:xfrm>
            <a:off x="8339495" y="3200144"/>
            <a:ext cx="350195" cy="22713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1CD3DF2-CAF6-812C-744A-7ADA016DDDA4}"/>
              </a:ext>
            </a:extLst>
          </p:cNvPr>
          <p:cNvSpPr/>
          <p:nvPr/>
        </p:nvSpPr>
        <p:spPr>
          <a:xfrm>
            <a:off x="8393139" y="3979312"/>
            <a:ext cx="350195" cy="22713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D2F9364-0978-7A47-1F89-D974BD3BAE5C}"/>
              </a:ext>
            </a:extLst>
          </p:cNvPr>
          <p:cNvSpPr/>
          <p:nvPr/>
        </p:nvSpPr>
        <p:spPr>
          <a:xfrm>
            <a:off x="2796649" y="3582674"/>
            <a:ext cx="350195" cy="227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047DAD5-710F-3983-DD92-BA65124896EC}"/>
              </a:ext>
            </a:extLst>
          </p:cNvPr>
          <p:cNvSpPr/>
          <p:nvPr/>
        </p:nvSpPr>
        <p:spPr>
          <a:xfrm>
            <a:off x="2800477" y="4308883"/>
            <a:ext cx="350195" cy="227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A31422D-1E48-6F41-00DE-E4E45B172728}"/>
              </a:ext>
            </a:extLst>
          </p:cNvPr>
          <p:cNvSpPr/>
          <p:nvPr/>
        </p:nvSpPr>
        <p:spPr>
          <a:xfrm>
            <a:off x="4690272" y="2840049"/>
            <a:ext cx="350195" cy="227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6E42DC4-0D1C-BC55-7A72-6ED6C3BC8ED5}"/>
              </a:ext>
            </a:extLst>
          </p:cNvPr>
          <p:cNvSpPr/>
          <p:nvPr/>
        </p:nvSpPr>
        <p:spPr>
          <a:xfrm>
            <a:off x="6489946" y="2861025"/>
            <a:ext cx="350195" cy="227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00E4F0A-CCA4-12EA-B479-713B623BD6E3}"/>
              </a:ext>
            </a:extLst>
          </p:cNvPr>
          <p:cNvSpPr/>
          <p:nvPr/>
        </p:nvSpPr>
        <p:spPr>
          <a:xfrm>
            <a:off x="4675753" y="3567297"/>
            <a:ext cx="350195" cy="227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B23BBBA-5367-05ED-FCF0-77B15CF2B8AE}"/>
              </a:ext>
            </a:extLst>
          </p:cNvPr>
          <p:cNvSpPr/>
          <p:nvPr/>
        </p:nvSpPr>
        <p:spPr>
          <a:xfrm>
            <a:off x="4682425" y="4302817"/>
            <a:ext cx="350195" cy="227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208F214-E71C-4ACA-0319-962C9455E31D}"/>
              </a:ext>
            </a:extLst>
          </p:cNvPr>
          <p:cNvSpPr/>
          <p:nvPr/>
        </p:nvSpPr>
        <p:spPr>
          <a:xfrm>
            <a:off x="6468304" y="4300189"/>
            <a:ext cx="350195" cy="227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E77297C-4A61-C13A-3717-5435408F5A69}"/>
              </a:ext>
            </a:extLst>
          </p:cNvPr>
          <p:cNvSpPr/>
          <p:nvPr/>
        </p:nvSpPr>
        <p:spPr>
          <a:xfrm>
            <a:off x="6475875" y="3574255"/>
            <a:ext cx="350195" cy="227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E7D7CDC-4624-DD7B-8204-DD9D7575A870}"/>
              </a:ext>
            </a:extLst>
          </p:cNvPr>
          <p:cNvSpPr/>
          <p:nvPr/>
        </p:nvSpPr>
        <p:spPr>
          <a:xfrm>
            <a:off x="8353591" y="2863401"/>
            <a:ext cx="350195" cy="227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67B5BD3F-77C0-B3E6-0AC4-F5393F99B235}"/>
              </a:ext>
            </a:extLst>
          </p:cNvPr>
          <p:cNvSpPr/>
          <p:nvPr/>
        </p:nvSpPr>
        <p:spPr>
          <a:xfrm>
            <a:off x="8358019" y="3580592"/>
            <a:ext cx="350195" cy="227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33CFF00-9890-0D50-3029-8B52270D08BA}"/>
              </a:ext>
            </a:extLst>
          </p:cNvPr>
          <p:cNvSpPr/>
          <p:nvPr/>
        </p:nvSpPr>
        <p:spPr>
          <a:xfrm>
            <a:off x="8358020" y="4314740"/>
            <a:ext cx="350195" cy="227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>
                <a:solidFill>
                  <a:schemeClr val="tx1"/>
                </a:solidFill>
              </a:rPr>
              <a:t>$</a:t>
            </a:r>
          </a:p>
        </p:txBody>
      </p:sp>
    </p:spTree>
    <p:extLst>
      <p:ext uri="{BB962C8B-B14F-4D97-AF65-F5344CB8AC3E}">
        <p14:creationId xmlns:p14="http://schemas.microsoft.com/office/powerpoint/2010/main" val="40540109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DF3465-7621-97FD-0D09-171C277ABA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object 65">
            <a:extLst>
              <a:ext uri="{FF2B5EF4-FFF2-40B4-BE49-F238E27FC236}">
                <a16:creationId xmlns:a16="http://schemas.microsoft.com/office/drawing/2014/main" id="{07B6947E-EB21-AE0B-4F3F-808133C5CCFA}"/>
              </a:ext>
            </a:extLst>
          </p:cNvPr>
          <p:cNvSpPr txBox="1"/>
          <p:nvPr/>
        </p:nvSpPr>
        <p:spPr>
          <a:xfrm>
            <a:off x="88899" y="88867"/>
            <a:ext cx="10254993" cy="707886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40"/>
              </a:spcBef>
            </a:pPr>
            <a:r>
              <a:rPr lang="en-US" sz="2300" b="1">
                <a:latin typeface="Calibri"/>
                <a:cs typeface="Calibri"/>
              </a:rPr>
              <a:t>APPENDIX</a:t>
            </a: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r>
              <a:rPr lang="en-US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Sources For The Secondary Data</a:t>
            </a:r>
            <a:endParaRPr lang="en-IN" sz="1600" i="1">
              <a:solidFill>
                <a:schemeClr val="bg1">
                  <a:lumMod val="6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61" name="object 81">
            <a:extLst>
              <a:ext uri="{FF2B5EF4-FFF2-40B4-BE49-F238E27FC236}">
                <a16:creationId xmlns:a16="http://schemas.microsoft.com/office/drawing/2014/main" id="{25D6AB8E-7314-3B47-8DE4-3C01CC53BACE}"/>
              </a:ext>
            </a:extLst>
          </p:cNvPr>
          <p:cNvSpPr txBox="1">
            <a:spLocks/>
          </p:cNvSpPr>
          <p:nvPr/>
        </p:nvSpPr>
        <p:spPr>
          <a:xfrm>
            <a:off x="11732386" y="650354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US" spc="-50"/>
              <a:t>6</a:t>
            </a:r>
            <a:endParaRPr lang="en-IN" spc="-50"/>
          </a:p>
        </p:txBody>
      </p:sp>
      <p:sp>
        <p:nvSpPr>
          <p:cNvPr id="82" name="object 2">
            <a:extLst>
              <a:ext uri="{FF2B5EF4-FFF2-40B4-BE49-F238E27FC236}">
                <a16:creationId xmlns:a16="http://schemas.microsoft.com/office/drawing/2014/main" id="{2C8F9C66-EA58-5A80-F5F0-E97606B870DB}"/>
              </a:ext>
            </a:extLst>
          </p:cNvPr>
          <p:cNvSpPr/>
          <p:nvPr/>
        </p:nvSpPr>
        <p:spPr>
          <a:xfrm>
            <a:off x="10087622" y="6385872"/>
            <a:ext cx="1393787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3DB90B-CDB3-689A-79A1-F586C9AD0E28}"/>
              </a:ext>
            </a:extLst>
          </p:cNvPr>
          <p:cNvSpPr/>
          <p:nvPr/>
        </p:nvSpPr>
        <p:spPr>
          <a:xfrm>
            <a:off x="10700238" y="201557"/>
            <a:ext cx="1380127" cy="5398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4" name="Chart 3">
                <a:extLst>
                  <a:ext uri="{FF2B5EF4-FFF2-40B4-BE49-F238E27FC236}">
                    <a16:creationId xmlns:a16="http://schemas.microsoft.com/office/drawing/2014/main" id="{351BD9F0-35EF-325C-A18C-08F1BBA37743}"/>
                  </a:ext>
                </a:extLst>
              </p:cNvPr>
              <p:cNvGraphicFramePr/>
              <p:nvPr/>
            </p:nvGraphicFramePr>
            <p:xfrm>
              <a:off x="2032000" y="719666"/>
              <a:ext cx="8128000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4" name="Chart 3">
                <a:extLst>
                  <a:ext uri="{FF2B5EF4-FFF2-40B4-BE49-F238E27FC236}">
                    <a16:creationId xmlns:a16="http://schemas.microsoft.com/office/drawing/2014/main" id="{351BD9F0-35EF-325C-A18C-08F1BBA3774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032000" y="719666"/>
                <a:ext cx="8128000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2" name="Rectangle 1">
            <a:extLst>
              <a:ext uri="{FF2B5EF4-FFF2-40B4-BE49-F238E27FC236}">
                <a16:creationId xmlns:a16="http://schemas.microsoft.com/office/drawing/2014/main" id="{F1D94AE1-1C74-7593-3B56-32C7FF42D5DA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2D0F9-C168-927C-C099-85F6C691629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9749" y="211373"/>
            <a:ext cx="601441" cy="566062"/>
          </a:xfrm>
          <a:prstGeom prst="rect">
            <a:avLst/>
          </a:prstGeom>
        </p:spPr>
      </p:pic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8" name="Chart 27">
                <a:extLst>
                  <a:ext uri="{FF2B5EF4-FFF2-40B4-BE49-F238E27FC236}">
                    <a16:creationId xmlns:a16="http://schemas.microsoft.com/office/drawing/2014/main" id="{51B49282-3238-70FF-44B4-3AEC0F55B65A}"/>
                  </a:ext>
                </a:extLst>
              </p:cNvPr>
              <p:cNvGraphicFramePr/>
              <p:nvPr/>
            </p:nvGraphicFramePr>
            <p:xfrm>
              <a:off x="2336800" y="1024466"/>
              <a:ext cx="8128000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28" name="Chart 27">
                <a:extLst>
                  <a:ext uri="{FF2B5EF4-FFF2-40B4-BE49-F238E27FC236}">
                    <a16:creationId xmlns:a16="http://schemas.microsoft.com/office/drawing/2014/main" id="{51B49282-3238-70FF-44B4-3AEC0F55B65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336800" y="1024466"/>
                <a:ext cx="8128000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TextBox 30">
            <a:extLst>
              <a:ext uri="{FF2B5EF4-FFF2-40B4-BE49-F238E27FC236}">
                <a16:creationId xmlns:a16="http://schemas.microsoft.com/office/drawing/2014/main" id="{3E5BB291-01FB-0308-A36B-62B1B1C8D5C8}"/>
              </a:ext>
            </a:extLst>
          </p:cNvPr>
          <p:cNvSpPr txBox="1"/>
          <p:nvPr/>
        </p:nvSpPr>
        <p:spPr>
          <a:xfrm>
            <a:off x="10303083" y="6452246"/>
            <a:ext cx="1239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C00000"/>
                </a:solidFill>
              </a:rPr>
              <a:t>Appendix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D568165-9E53-8CFB-7397-9172EF49FAE3}"/>
              </a:ext>
            </a:extLst>
          </p:cNvPr>
          <p:cNvSpPr txBox="1"/>
          <p:nvPr/>
        </p:nvSpPr>
        <p:spPr>
          <a:xfrm>
            <a:off x="397092" y="6441627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Research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5C2F302-F70D-F379-26D1-2FDF0511B330}"/>
              </a:ext>
            </a:extLst>
          </p:cNvPr>
          <p:cNvSpPr txBox="1"/>
          <p:nvPr/>
        </p:nvSpPr>
        <p:spPr>
          <a:xfrm>
            <a:off x="2067459" y="6441730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Entry Strateg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FC817CF-B201-0228-BE6A-83F1DFDB5D45}"/>
              </a:ext>
            </a:extLst>
          </p:cNvPr>
          <p:cNvSpPr txBox="1"/>
          <p:nvPr/>
        </p:nvSpPr>
        <p:spPr>
          <a:xfrm>
            <a:off x="4141781" y="6452763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Customer Value Proposi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20177B0-0106-B401-B6A6-8A6D8BF33963}"/>
              </a:ext>
            </a:extLst>
          </p:cNvPr>
          <p:cNvSpPr txBox="1"/>
          <p:nvPr/>
        </p:nvSpPr>
        <p:spPr>
          <a:xfrm>
            <a:off x="6623801" y="6460634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ing &amp; Promo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AFF29B7-ED0F-84FD-147D-3115556CFC44}"/>
              </a:ext>
            </a:extLst>
          </p:cNvPr>
          <p:cNvSpPr txBox="1"/>
          <p:nvPr/>
        </p:nvSpPr>
        <p:spPr>
          <a:xfrm>
            <a:off x="8689690" y="6466466"/>
            <a:ext cx="1296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Size &amp; Timelin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D40F921-F1CC-A696-D118-F9966DAECFBC}"/>
              </a:ext>
            </a:extLst>
          </p:cNvPr>
          <p:cNvSpPr txBox="1"/>
          <p:nvPr/>
        </p:nvSpPr>
        <p:spPr>
          <a:xfrm>
            <a:off x="10321841" y="1818360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Statu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BE5E8B-9C26-0FC7-494E-3E485B847908}"/>
              </a:ext>
            </a:extLst>
          </p:cNvPr>
          <p:cNvSpPr txBox="1"/>
          <p:nvPr/>
        </p:nvSpPr>
        <p:spPr>
          <a:xfrm>
            <a:off x="716967" y="1722393"/>
            <a:ext cx="10007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 [USDA Report on Food Service - Hotel Restaurant Institutional in Paris, France](</a:t>
            </a:r>
            <a:r>
              <a:rPr lang="en-US" sz="1400">
                <a:hlinkClick r:id="rId6"/>
              </a:rPr>
              <a:t>https://agriexchange.apeda.gov.in/MarketReport/Reports/Food%20Service%20-%20Hotel%20Restaurant%20Institutional_Paris_France_FR2022-0017.pdf</a:t>
            </a:r>
            <a:r>
              <a:rPr lang="en-US" sz="1400"/>
              <a:t>)</a:t>
            </a:r>
          </a:p>
          <a:p>
            <a:endParaRPr lang="en-US" sz="1400"/>
          </a:p>
          <a:p>
            <a:pPr marL="342900" indent="-342900">
              <a:buAutoNum type="arabicPeriod"/>
            </a:pPr>
            <a:r>
              <a:rPr lang="en-US" sz="1400"/>
              <a:t>Citations:</a:t>
            </a:r>
          </a:p>
          <a:p>
            <a:pPr marL="342900" indent="-342900">
              <a:buAutoNum type="arabicPeriod"/>
            </a:pPr>
            <a:r>
              <a:rPr lang="en-US" sz="1400"/>
              <a:t>[1] Chain Restaurants in the US - Market Research Report (2014-2029) </a:t>
            </a:r>
            <a:r>
              <a:rPr lang="en-US" sz="1400">
                <a:hlinkClick r:id="rId7"/>
              </a:rPr>
              <a:t>https://www.ibisworld.com/united-states/market-research-reports/chain-restaurants-industry/</a:t>
            </a:r>
            <a:endParaRPr lang="en-US" sz="1400"/>
          </a:p>
          <a:p>
            <a:pPr marL="342900" indent="-342900">
              <a:buAutoNum type="arabicPeriod"/>
            </a:pPr>
            <a:r>
              <a:rPr lang="en-US" sz="1400"/>
              <a:t>[2] France Foodservice Market Size and Trends by Profit and Cost Sector Channels, Players and Forecast to 2028 </a:t>
            </a:r>
            <a:r>
              <a:rPr lang="en-US" sz="1400">
                <a:hlinkClick r:id="rId8"/>
              </a:rPr>
              <a:t>https://www.globaldata.com/store/report/france-foodservice-market-analysis/</a:t>
            </a:r>
            <a:endParaRPr lang="en-US" sz="1400"/>
          </a:p>
          <a:p>
            <a:pPr marL="342900" indent="-342900">
              <a:buAutoNum type="arabicPeriod"/>
            </a:pPr>
            <a:r>
              <a:rPr lang="en-US" sz="1400"/>
              <a:t>[3] Full-Service Restaurants in Paris - Market Research Report (2014-2029) </a:t>
            </a:r>
            <a:r>
              <a:rPr lang="en-US" sz="1400">
                <a:hlinkClick r:id="rId9"/>
              </a:rPr>
              <a:t>https://www.ibisworld.com/paris/market-research-reports/full-service-restaurants-industry/</a:t>
            </a:r>
            <a:endParaRPr lang="en-US" sz="1400"/>
          </a:p>
          <a:p>
            <a:pPr marL="342900" indent="-342900">
              <a:buAutoNum type="arabicPeriod"/>
            </a:pPr>
            <a:r>
              <a:rPr lang="en-US" sz="1400"/>
              <a:t>[4] Food Service &amp; Hospitality market research reports by IBISWorld </a:t>
            </a:r>
            <a:r>
              <a:rPr lang="en-US" sz="1400">
                <a:hlinkClick r:id="rId10"/>
              </a:rPr>
              <a:t>https://www.marketresearch.com/IBISWorld-v2487/Food-Service-Hospitality-c169/1.html</a:t>
            </a:r>
            <a:endParaRPr lang="en-US" sz="1400"/>
          </a:p>
          <a:p>
            <a:pPr marL="342900" indent="-342900">
              <a:buAutoNum type="arabicPeriod"/>
            </a:pPr>
            <a:r>
              <a:rPr lang="en-US" sz="1400"/>
              <a:t>[5] THIS REPORT CONTAINS ASSESSMENTS OF COMMODITY AND TRADE ISSUES MADE BY USDA STAFF AND NOT NECESSARILY </a:t>
            </a:r>
            <a:r>
              <a:rPr lang="en-US" sz="1400">
                <a:hlinkClick r:id="rId6"/>
              </a:rPr>
              <a:t>https://agriexchange.apeda.gov.in/MarketReport/Reports/Food%20Service%20-%20Hotel%20Restaurant%20Institutional_Paris_France_FR2022-0017.pdf</a:t>
            </a:r>
            <a:endParaRPr lang="en-US" sz="1400"/>
          </a:p>
          <a:p>
            <a:pPr marL="342900" indent="-342900">
              <a:buAutoNum type="arabicPeriod"/>
            </a:pPr>
            <a:r>
              <a:rPr lang="en-US" sz="1400"/>
              <a:t>[6] Single Location Full-Service Restaurants in the US - IBISWorld </a:t>
            </a:r>
            <a:r>
              <a:rPr lang="en-US" sz="1400">
                <a:hlinkClick r:id="rId11"/>
              </a:rPr>
              <a:t>https://www.ibisworld.com/united-states/market-research-reports/single-location-full-service-restaurants-industry/</a:t>
            </a:r>
            <a:endParaRPr lang="en-US" sz="14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D9B1E85-D226-E19C-EE12-7FFD8EE31F41}"/>
              </a:ext>
            </a:extLst>
          </p:cNvPr>
          <p:cNvSpPr txBox="1"/>
          <p:nvPr/>
        </p:nvSpPr>
        <p:spPr>
          <a:xfrm>
            <a:off x="739533" y="1241468"/>
            <a:ext cx="4003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/>
              <a:t>Sources --</a:t>
            </a:r>
            <a:endParaRPr lang="en-IN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E337F2F-DB41-CDF7-5256-533FFAD22EFF}"/>
              </a:ext>
            </a:extLst>
          </p:cNvPr>
          <p:cNvCxnSpPr/>
          <p:nvPr/>
        </p:nvCxnSpPr>
        <p:spPr>
          <a:xfrm>
            <a:off x="16436" y="30410"/>
            <a:ext cx="0" cy="688115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61A2D5-199E-6140-10D8-F839D8BE45DF}"/>
              </a:ext>
            </a:extLst>
          </p:cNvPr>
          <p:cNvCxnSpPr>
            <a:cxnSpLocks/>
          </p:cNvCxnSpPr>
          <p:nvPr/>
        </p:nvCxnSpPr>
        <p:spPr>
          <a:xfrm>
            <a:off x="12171651" y="0"/>
            <a:ext cx="0" cy="6932826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4EBB2D8-1ADA-090D-3EE6-769C71D2CC05}"/>
              </a:ext>
            </a:extLst>
          </p:cNvPr>
          <p:cNvCxnSpPr>
            <a:cxnSpLocks/>
          </p:cNvCxnSpPr>
          <p:nvPr/>
        </p:nvCxnSpPr>
        <p:spPr>
          <a:xfrm flipH="1">
            <a:off x="11109" y="6841021"/>
            <a:ext cx="1216054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24134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4CBDC3-D9B6-E768-6C0D-A98B777E2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2A04BD8-FC16-ED61-6B8E-9BD98994952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985"/>
            <a:ext cx="12192000" cy="6864985"/>
          </a:xfr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A0E2183-FAE7-CE0A-CB8A-07229641DD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1669" y="-1987"/>
            <a:ext cx="601441" cy="566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2325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7008C349-F3DA-FF1D-4520-9B7173CE8B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2400582"/>
              </p:ext>
            </p:extLst>
          </p:nvPr>
        </p:nvGraphicFramePr>
        <p:xfrm>
          <a:off x="39189" y="4016328"/>
          <a:ext cx="3674556" cy="22850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5C5830A0-D65C-09DF-0682-D5DE97B30DCE}"/>
              </a:ext>
            </a:extLst>
          </p:cNvPr>
          <p:cNvSpPr/>
          <p:nvPr/>
        </p:nvSpPr>
        <p:spPr>
          <a:xfrm>
            <a:off x="3680380" y="4151649"/>
            <a:ext cx="4735519" cy="21766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58" name="Rectangle 1057">
            <a:extLst>
              <a:ext uri="{FF2B5EF4-FFF2-40B4-BE49-F238E27FC236}">
                <a16:creationId xmlns:a16="http://schemas.microsoft.com/office/drawing/2014/main" id="{65DBA84F-61C3-11A8-9391-D75037EDFB20}"/>
              </a:ext>
            </a:extLst>
          </p:cNvPr>
          <p:cNvSpPr/>
          <p:nvPr/>
        </p:nvSpPr>
        <p:spPr>
          <a:xfrm>
            <a:off x="6261844" y="1242011"/>
            <a:ext cx="5787595" cy="24168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31" name="object 40">
            <a:extLst>
              <a:ext uri="{FF2B5EF4-FFF2-40B4-BE49-F238E27FC236}">
                <a16:creationId xmlns:a16="http://schemas.microsoft.com/office/drawing/2014/main" id="{CDA115E7-DA0C-3E6C-472F-6CEAED01EAFA}"/>
              </a:ext>
            </a:extLst>
          </p:cNvPr>
          <p:cNvSpPr/>
          <p:nvPr/>
        </p:nvSpPr>
        <p:spPr>
          <a:xfrm>
            <a:off x="6507537" y="1252171"/>
            <a:ext cx="5572827" cy="2456749"/>
          </a:xfrm>
          <a:custGeom>
            <a:avLst/>
            <a:gdLst/>
            <a:ahLst/>
            <a:cxnLst/>
            <a:rect l="l" t="t" r="r" b="b"/>
            <a:pathLst>
              <a:path w="1962150" h="923925">
                <a:moveTo>
                  <a:pt x="1808099" y="0"/>
                </a:moveTo>
                <a:lnTo>
                  <a:pt x="154050" y="0"/>
                </a:lnTo>
                <a:lnTo>
                  <a:pt x="105355" y="7852"/>
                </a:lnTo>
                <a:lnTo>
                  <a:pt x="63066" y="29720"/>
                </a:lnTo>
                <a:lnTo>
                  <a:pt x="29720" y="63066"/>
                </a:lnTo>
                <a:lnTo>
                  <a:pt x="7852" y="105355"/>
                </a:lnTo>
                <a:lnTo>
                  <a:pt x="0" y="154050"/>
                </a:lnTo>
                <a:lnTo>
                  <a:pt x="0" y="769874"/>
                </a:lnTo>
                <a:lnTo>
                  <a:pt x="7852" y="818569"/>
                </a:lnTo>
                <a:lnTo>
                  <a:pt x="29720" y="860858"/>
                </a:lnTo>
                <a:lnTo>
                  <a:pt x="63066" y="894204"/>
                </a:lnTo>
                <a:lnTo>
                  <a:pt x="105355" y="916072"/>
                </a:lnTo>
                <a:lnTo>
                  <a:pt x="154050" y="923925"/>
                </a:lnTo>
                <a:lnTo>
                  <a:pt x="1808099" y="923925"/>
                </a:lnTo>
                <a:lnTo>
                  <a:pt x="1856794" y="916072"/>
                </a:lnTo>
                <a:lnTo>
                  <a:pt x="1899083" y="894204"/>
                </a:lnTo>
                <a:lnTo>
                  <a:pt x="1932429" y="860858"/>
                </a:lnTo>
                <a:lnTo>
                  <a:pt x="1954297" y="818569"/>
                </a:lnTo>
                <a:lnTo>
                  <a:pt x="1962150" y="769874"/>
                </a:lnTo>
                <a:lnTo>
                  <a:pt x="1962150" y="154050"/>
                </a:lnTo>
                <a:lnTo>
                  <a:pt x="1954297" y="105355"/>
                </a:lnTo>
                <a:lnTo>
                  <a:pt x="1932429" y="63066"/>
                </a:lnTo>
                <a:lnTo>
                  <a:pt x="1899083" y="29720"/>
                </a:lnTo>
                <a:lnTo>
                  <a:pt x="1856794" y="7852"/>
                </a:lnTo>
                <a:lnTo>
                  <a:pt x="1808099" y="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145" name="object 65">
            <a:extLst>
              <a:ext uri="{FF2B5EF4-FFF2-40B4-BE49-F238E27FC236}">
                <a16:creationId xmlns:a16="http://schemas.microsoft.com/office/drawing/2014/main" id="{4FD1B8EF-A16B-4405-A241-BEEF80D3F533}"/>
              </a:ext>
            </a:extLst>
          </p:cNvPr>
          <p:cNvSpPr txBox="1"/>
          <p:nvPr/>
        </p:nvSpPr>
        <p:spPr>
          <a:xfrm>
            <a:off x="88899" y="88867"/>
            <a:ext cx="7630159" cy="713740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40"/>
              </a:spcBef>
            </a:pPr>
            <a:r>
              <a:rPr lang="en-US" sz="2300" b="1">
                <a:latin typeface="Calibri"/>
                <a:cs typeface="Calibri"/>
              </a:rPr>
              <a:t>MARKET RESEARCH AND INSIGHTS</a:t>
            </a:r>
            <a:endParaRPr sz="23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r>
              <a:rPr lang="en-US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Looking into the </a:t>
            </a:r>
            <a:r>
              <a:rPr lang="en-US" sz="1600" i="1">
                <a:solidFill>
                  <a:srgbClr val="C00000"/>
                </a:solidFill>
                <a:latin typeface="Calibri"/>
                <a:cs typeface="Calibri"/>
              </a:rPr>
              <a:t>Restaurant market of France </a:t>
            </a:r>
            <a:r>
              <a:rPr lang="en-US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and potential insights</a:t>
            </a:r>
            <a:endParaRPr sz="1600" i="1">
              <a:solidFill>
                <a:schemeClr val="bg1">
                  <a:lumMod val="65000"/>
                </a:schemeClr>
              </a:solidFill>
              <a:latin typeface="Calibri"/>
              <a:cs typeface="Calibri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A245985-8731-478B-872E-EA4C621ED775}"/>
              </a:ext>
            </a:extLst>
          </p:cNvPr>
          <p:cNvGrpSpPr/>
          <p:nvPr/>
        </p:nvGrpSpPr>
        <p:grpSpPr>
          <a:xfrm>
            <a:off x="8607839" y="4097941"/>
            <a:ext cx="3621729" cy="2238695"/>
            <a:chOff x="3064260" y="946180"/>
            <a:chExt cx="3292480" cy="2035171"/>
          </a:xfrm>
        </p:grpSpPr>
        <p:sp>
          <p:nvSpPr>
            <p:cNvPr id="86" name="object 42">
              <a:extLst>
                <a:ext uri="{FF2B5EF4-FFF2-40B4-BE49-F238E27FC236}">
                  <a16:creationId xmlns:a16="http://schemas.microsoft.com/office/drawing/2014/main" id="{9091ABC8-9465-470B-A6C0-6DCB426F4B9F}"/>
                </a:ext>
              </a:extLst>
            </p:cNvPr>
            <p:cNvSpPr txBox="1"/>
            <p:nvPr/>
          </p:nvSpPr>
          <p:spPr>
            <a:xfrm>
              <a:off x="5104442" y="2061494"/>
              <a:ext cx="1252298" cy="152140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lang="en-IN" sz="1000" b="1" spc="-10">
                  <a:latin typeface="Calibri"/>
                  <a:cs typeface="Calibri"/>
                </a:rPr>
                <a:t>DIRECT COMPETITION</a:t>
              </a:r>
              <a:endParaRPr sz="1000">
                <a:latin typeface="Calibri"/>
                <a:cs typeface="Calibri"/>
              </a:endParaRPr>
            </a:p>
          </p:txBody>
        </p:sp>
        <p:sp>
          <p:nvSpPr>
            <p:cNvPr id="88" name="object 44">
              <a:extLst>
                <a:ext uri="{FF2B5EF4-FFF2-40B4-BE49-F238E27FC236}">
                  <a16:creationId xmlns:a16="http://schemas.microsoft.com/office/drawing/2014/main" id="{FF2C3A19-4434-4FB2-8A38-A408E72CAD1F}"/>
                </a:ext>
              </a:extLst>
            </p:cNvPr>
            <p:cNvSpPr/>
            <p:nvPr/>
          </p:nvSpPr>
          <p:spPr>
            <a:xfrm>
              <a:off x="4463926" y="1082081"/>
              <a:ext cx="41563" cy="1747501"/>
            </a:xfrm>
            <a:custGeom>
              <a:avLst/>
              <a:gdLst/>
              <a:ahLst/>
              <a:cxnLst/>
              <a:rect l="l" t="t" r="r" b="b"/>
              <a:pathLst>
                <a:path w="76200" h="1727835">
                  <a:moveTo>
                    <a:pt x="76200" y="76200"/>
                  </a:moveTo>
                  <a:lnTo>
                    <a:pt x="69850" y="63500"/>
                  </a:lnTo>
                  <a:lnTo>
                    <a:pt x="38100" y="0"/>
                  </a:lnTo>
                  <a:lnTo>
                    <a:pt x="0" y="76200"/>
                  </a:lnTo>
                  <a:lnTo>
                    <a:pt x="31750" y="76200"/>
                  </a:lnTo>
                  <a:lnTo>
                    <a:pt x="31750" y="1651508"/>
                  </a:lnTo>
                  <a:lnTo>
                    <a:pt x="0" y="1651508"/>
                  </a:lnTo>
                  <a:lnTo>
                    <a:pt x="38100" y="1727708"/>
                  </a:lnTo>
                  <a:lnTo>
                    <a:pt x="69850" y="1664208"/>
                  </a:lnTo>
                  <a:lnTo>
                    <a:pt x="76200" y="1651508"/>
                  </a:lnTo>
                  <a:lnTo>
                    <a:pt x="44450" y="1651508"/>
                  </a:lnTo>
                  <a:lnTo>
                    <a:pt x="44450" y="76200"/>
                  </a:lnTo>
                  <a:lnTo>
                    <a:pt x="76200" y="7620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47">
              <a:extLst>
                <a:ext uri="{FF2B5EF4-FFF2-40B4-BE49-F238E27FC236}">
                  <a16:creationId xmlns:a16="http://schemas.microsoft.com/office/drawing/2014/main" id="{4ECDE3F0-E5FE-4EB1-BBDA-6C975150519D}"/>
                </a:ext>
              </a:extLst>
            </p:cNvPr>
            <p:cNvSpPr txBox="1"/>
            <p:nvPr/>
          </p:nvSpPr>
          <p:spPr>
            <a:xfrm>
              <a:off x="4108527" y="946180"/>
              <a:ext cx="842007" cy="152140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5"/>
                </a:spcBef>
              </a:pPr>
              <a:r>
                <a:rPr lang="en-US" sz="1000" b="1" spc="-10">
                  <a:latin typeface="Calibri"/>
                  <a:cs typeface="Calibri"/>
                </a:rPr>
                <a:t>HIGH </a:t>
              </a:r>
              <a:r>
                <a:rPr sz="1000" b="1" spc="-10">
                  <a:latin typeface="Calibri"/>
                  <a:cs typeface="Calibri"/>
                </a:rPr>
                <a:t>PRIC</a:t>
              </a:r>
              <a:r>
                <a:rPr lang="en-IN" sz="1000" b="1" spc="-10">
                  <a:latin typeface="Calibri"/>
                  <a:cs typeface="Calibri"/>
                </a:rPr>
                <a:t>ING</a:t>
              </a:r>
              <a:endParaRPr sz="1000">
                <a:latin typeface="Calibri"/>
                <a:cs typeface="Calibri"/>
              </a:endParaRPr>
            </a:p>
          </p:txBody>
        </p:sp>
        <p:sp>
          <p:nvSpPr>
            <p:cNvPr id="92" name="object 48">
              <a:extLst>
                <a:ext uri="{FF2B5EF4-FFF2-40B4-BE49-F238E27FC236}">
                  <a16:creationId xmlns:a16="http://schemas.microsoft.com/office/drawing/2014/main" id="{78A78284-3349-4F00-9B29-B9FBE58EAC17}"/>
                </a:ext>
              </a:extLst>
            </p:cNvPr>
            <p:cNvSpPr txBox="1"/>
            <p:nvPr/>
          </p:nvSpPr>
          <p:spPr>
            <a:xfrm>
              <a:off x="3064260" y="2075286"/>
              <a:ext cx="1556010" cy="152140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lang="en-IN" sz="1000" b="1">
                  <a:latin typeface="Calibri"/>
                  <a:cs typeface="Calibri"/>
                </a:rPr>
                <a:t>INDIRECT COMPETITION</a:t>
              </a:r>
              <a:endParaRPr sz="1000">
                <a:latin typeface="Calibri"/>
                <a:cs typeface="Calibri"/>
              </a:endParaRPr>
            </a:p>
          </p:txBody>
        </p:sp>
        <p:sp>
          <p:nvSpPr>
            <p:cNvPr id="95" name="object 44">
              <a:extLst>
                <a:ext uri="{FF2B5EF4-FFF2-40B4-BE49-F238E27FC236}">
                  <a16:creationId xmlns:a16="http://schemas.microsoft.com/office/drawing/2014/main" id="{74E401BE-51C1-4939-AF47-26AD42401C9C}"/>
                </a:ext>
              </a:extLst>
            </p:cNvPr>
            <p:cNvSpPr/>
            <p:nvPr/>
          </p:nvSpPr>
          <p:spPr>
            <a:xfrm rot="5400000">
              <a:off x="4658025" y="719674"/>
              <a:ext cx="76200" cy="2608928"/>
            </a:xfrm>
            <a:custGeom>
              <a:avLst/>
              <a:gdLst/>
              <a:ahLst/>
              <a:cxnLst/>
              <a:rect l="l" t="t" r="r" b="b"/>
              <a:pathLst>
                <a:path w="76200" h="1727835">
                  <a:moveTo>
                    <a:pt x="76200" y="76200"/>
                  </a:moveTo>
                  <a:lnTo>
                    <a:pt x="69850" y="63500"/>
                  </a:lnTo>
                  <a:lnTo>
                    <a:pt x="38100" y="0"/>
                  </a:lnTo>
                  <a:lnTo>
                    <a:pt x="0" y="76200"/>
                  </a:lnTo>
                  <a:lnTo>
                    <a:pt x="31750" y="76200"/>
                  </a:lnTo>
                  <a:lnTo>
                    <a:pt x="31750" y="1651508"/>
                  </a:lnTo>
                  <a:lnTo>
                    <a:pt x="0" y="1651508"/>
                  </a:lnTo>
                  <a:lnTo>
                    <a:pt x="38100" y="1727708"/>
                  </a:lnTo>
                  <a:lnTo>
                    <a:pt x="69850" y="1664208"/>
                  </a:lnTo>
                  <a:lnTo>
                    <a:pt x="76200" y="1651508"/>
                  </a:lnTo>
                  <a:lnTo>
                    <a:pt x="44450" y="1651508"/>
                  </a:lnTo>
                  <a:lnTo>
                    <a:pt x="44450" y="76200"/>
                  </a:lnTo>
                  <a:lnTo>
                    <a:pt x="76200" y="7620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47">
              <a:extLst>
                <a:ext uri="{FF2B5EF4-FFF2-40B4-BE49-F238E27FC236}">
                  <a16:creationId xmlns:a16="http://schemas.microsoft.com/office/drawing/2014/main" id="{3EA279A8-30ED-4EC9-A520-9D8CF040FB2F}"/>
                </a:ext>
              </a:extLst>
            </p:cNvPr>
            <p:cNvSpPr txBox="1"/>
            <p:nvPr/>
          </p:nvSpPr>
          <p:spPr>
            <a:xfrm>
              <a:off x="4180430" y="2829211"/>
              <a:ext cx="1007497" cy="152140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lang="en-US" sz="1000" b="1" spc="-10">
                  <a:latin typeface="Calibri"/>
                  <a:cs typeface="Calibri"/>
                </a:rPr>
                <a:t>LOW </a:t>
              </a:r>
              <a:r>
                <a:rPr sz="1000" b="1" spc="-10">
                  <a:latin typeface="Calibri"/>
                  <a:cs typeface="Calibri"/>
                </a:rPr>
                <a:t>PRIC</a:t>
              </a:r>
              <a:r>
                <a:rPr lang="en-IN" sz="1000" b="1" spc="-10">
                  <a:latin typeface="Calibri"/>
                  <a:cs typeface="Calibri"/>
                </a:rPr>
                <a:t>ING</a:t>
              </a:r>
              <a:endParaRPr sz="1000">
                <a:latin typeface="Calibri"/>
                <a:cs typeface="Calibri"/>
              </a:endParaRPr>
            </a:p>
          </p:txBody>
        </p:sp>
      </p:grp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E835EA0-BC31-4015-B4D1-DEDAAB1A73B2}"/>
              </a:ext>
            </a:extLst>
          </p:cNvPr>
          <p:cNvSpPr/>
          <p:nvPr/>
        </p:nvSpPr>
        <p:spPr>
          <a:xfrm>
            <a:off x="8563417" y="3808381"/>
            <a:ext cx="3477007" cy="234788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COMPETITOR’S MATRIX </a:t>
            </a:r>
            <a:endParaRPr lang="en-IN" sz="1400" b="1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CAFAC42B-CEC8-E4AC-1E39-A07E03EF8C06}"/>
              </a:ext>
            </a:extLst>
          </p:cNvPr>
          <p:cNvGrpSpPr/>
          <p:nvPr/>
        </p:nvGrpSpPr>
        <p:grpSpPr>
          <a:xfrm>
            <a:off x="1916183" y="2111712"/>
            <a:ext cx="1747929" cy="1697720"/>
            <a:chOff x="258771" y="1217010"/>
            <a:chExt cx="2604068" cy="2211355"/>
          </a:xfrm>
        </p:grpSpPr>
        <p:graphicFrame>
          <p:nvGraphicFramePr>
            <p:cNvPr id="47" name="Chart 46">
              <a:extLst>
                <a:ext uri="{FF2B5EF4-FFF2-40B4-BE49-F238E27FC236}">
                  <a16:creationId xmlns:a16="http://schemas.microsoft.com/office/drawing/2014/main" id="{C0690247-CEA1-2E69-A952-7CF8E893152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532858555"/>
                </p:ext>
              </p:extLst>
            </p:nvPr>
          </p:nvGraphicFramePr>
          <p:xfrm>
            <a:off x="258771" y="1217010"/>
            <a:ext cx="2604068" cy="22113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36E4937F-D85F-6FAB-41D5-AACD77061FEE}"/>
                </a:ext>
              </a:extLst>
            </p:cNvPr>
            <p:cNvGrpSpPr/>
            <p:nvPr/>
          </p:nvGrpSpPr>
          <p:grpSpPr>
            <a:xfrm>
              <a:off x="610045" y="1567815"/>
              <a:ext cx="2142067" cy="1533368"/>
              <a:chOff x="610045" y="1567815"/>
              <a:chExt cx="2142067" cy="1533368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D50EE0C3-4EEE-3135-88E5-12F2E0D0234E}"/>
                  </a:ext>
                </a:extLst>
              </p:cNvPr>
              <p:cNvGrpSpPr/>
              <p:nvPr/>
            </p:nvGrpSpPr>
            <p:grpSpPr>
              <a:xfrm>
                <a:off x="1067112" y="1833519"/>
                <a:ext cx="1136820" cy="466965"/>
                <a:chOff x="1067112" y="1849394"/>
                <a:chExt cx="1136820" cy="466965"/>
              </a:xfrm>
            </p:grpSpPr>
            <p:cxnSp>
              <p:nvCxnSpPr>
                <p:cNvPr id="49" name="Straight Arrow Connector 48">
                  <a:extLst>
                    <a:ext uri="{FF2B5EF4-FFF2-40B4-BE49-F238E27FC236}">
                      <a16:creationId xmlns:a16="http://schemas.microsoft.com/office/drawing/2014/main" id="{3F2EF97A-2438-0C6C-E404-2718028145E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105708" y="1849394"/>
                  <a:ext cx="1098224" cy="466965"/>
                </a:xfrm>
                <a:prstGeom prst="straightConnector1">
                  <a:avLst/>
                </a:prstGeom>
                <a:ln w="38100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BD243EF1-D435-A0BC-2D38-85F808522310}"/>
                    </a:ext>
                  </a:extLst>
                </p:cNvPr>
                <p:cNvSpPr/>
                <p:nvPr/>
              </p:nvSpPr>
              <p:spPr>
                <a:xfrm rot="20313097">
                  <a:off x="1067112" y="1932453"/>
                  <a:ext cx="783947" cy="357486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IN" sz="900" b="1">
                      <a:solidFill>
                        <a:schemeClr val="bg1">
                          <a:lumMod val="95000"/>
                        </a:schemeClr>
                      </a:solidFill>
                    </a:rPr>
                    <a:t>6.13% </a:t>
                  </a:r>
                  <a:r>
                    <a:rPr lang="en-IN" sz="800" b="1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</a:rPr>
                    <a:t>CAGR</a:t>
                  </a:r>
                </a:p>
              </p:txBody>
            </p:sp>
          </p:grp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BF13FF91-40DB-A760-C767-3F2E8936D53C}"/>
                  </a:ext>
                </a:extLst>
              </p:cNvPr>
              <p:cNvGrpSpPr/>
              <p:nvPr/>
            </p:nvGrpSpPr>
            <p:grpSpPr>
              <a:xfrm>
                <a:off x="610045" y="1567815"/>
                <a:ext cx="2142067" cy="1533368"/>
                <a:chOff x="610045" y="1523351"/>
                <a:chExt cx="2142067" cy="1533368"/>
              </a:xfrm>
            </p:grpSpPr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BE94415E-B683-719F-FD63-732E12CF842B}"/>
                    </a:ext>
                  </a:extLst>
                </p:cNvPr>
                <p:cNvCxnSpPr/>
                <p:nvPr/>
              </p:nvCxnSpPr>
              <p:spPr>
                <a:xfrm>
                  <a:off x="610045" y="3048574"/>
                  <a:ext cx="2142067" cy="0"/>
                </a:xfrm>
                <a:prstGeom prst="line">
                  <a:avLst/>
                </a:prstGeom>
                <a:ln w="28575">
                  <a:solidFill>
                    <a:srgbClr val="420C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Straight Connector 57">
                  <a:extLst>
                    <a:ext uri="{FF2B5EF4-FFF2-40B4-BE49-F238E27FC236}">
                      <a16:creationId xmlns:a16="http://schemas.microsoft.com/office/drawing/2014/main" id="{2F8E5EE7-C920-47B9-C804-9E6C480CE1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34326" y="1523351"/>
                  <a:ext cx="0" cy="1533368"/>
                </a:xfrm>
                <a:prstGeom prst="line">
                  <a:avLst/>
                </a:prstGeom>
                <a:ln w="28575">
                  <a:solidFill>
                    <a:srgbClr val="420C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0DF826F3-B501-8F5F-F200-BBBB1D221B67}"/>
                </a:ext>
              </a:extLst>
            </p:cNvPr>
            <p:cNvSpPr/>
            <p:nvPr/>
          </p:nvSpPr>
          <p:spPr>
            <a:xfrm>
              <a:off x="584451" y="1509593"/>
              <a:ext cx="114156" cy="97496"/>
            </a:xfrm>
            <a:prstGeom prst="triangle">
              <a:avLst/>
            </a:prstGeom>
            <a:solidFill>
              <a:srgbClr val="C55A1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1" name="Isosceles Triangle 60">
              <a:extLst>
                <a:ext uri="{FF2B5EF4-FFF2-40B4-BE49-F238E27FC236}">
                  <a16:creationId xmlns:a16="http://schemas.microsoft.com/office/drawing/2014/main" id="{BFFA25FD-AD74-408A-E33D-543B1F6DC4B7}"/>
                </a:ext>
              </a:extLst>
            </p:cNvPr>
            <p:cNvSpPr/>
            <p:nvPr/>
          </p:nvSpPr>
          <p:spPr>
            <a:xfrm rot="5400000">
              <a:off x="2704277" y="3054675"/>
              <a:ext cx="130626" cy="85203"/>
            </a:xfrm>
            <a:prstGeom prst="triangle">
              <a:avLst/>
            </a:prstGeom>
            <a:solidFill>
              <a:srgbClr val="C55A1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4A7EFBD1-04A1-476B-AF8B-1AD32F27E35F}"/>
              </a:ext>
            </a:extLst>
          </p:cNvPr>
          <p:cNvSpPr/>
          <p:nvPr/>
        </p:nvSpPr>
        <p:spPr>
          <a:xfrm>
            <a:off x="88898" y="929869"/>
            <a:ext cx="3701657" cy="27359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400" b="1"/>
              <a:t>VENTURING INTO THE RESTAURANT INDUSTR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981E6D3-AA7C-50CB-D7CC-EC91882ED629}"/>
              </a:ext>
            </a:extLst>
          </p:cNvPr>
          <p:cNvSpPr/>
          <p:nvPr/>
        </p:nvSpPr>
        <p:spPr>
          <a:xfrm>
            <a:off x="339658" y="1268478"/>
            <a:ext cx="3089542" cy="813611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Paris's restaurant </a:t>
            </a:r>
            <a:r>
              <a:rPr lang="en-US" sz="1100">
                <a:solidFill>
                  <a:schemeClr val="tx1"/>
                </a:solidFill>
              </a:rPr>
              <a:t>industry is renowned for its blend of traditional French cuisine and global influences, featuring nearly </a:t>
            </a:r>
            <a:r>
              <a:rPr lang="en-US" sz="1100" b="1">
                <a:solidFill>
                  <a:schemeClr val="tx1"/>
                </a:solidFill>
              </a:rPr>
              <a:t>200 Michelin-starred </a:t>
            </a:r>
            <a:r>
              <a:rPr lang="en-US" sz="1100">
                <a:solidFill>
                  <a:schemeClr val="tx1"/>
                </a:solidFill>
              </a:rPr>
              <a:t>restaurants and a growing trend towards health-conscious dining and fusion cuisines</a:t>
            </a:r>
            <a:r>
              <a:rPr lang="en-US" sz="1100" b="1">
                <a:solidFill>
                  <a:schemeClr val="tx1"/>
                </a:solidFill>
              </a:rPr>
              <a:t>.</a:t>
            </a:r>
            <a:r>
              <a:rPr lang="en-US" sz="1100" b="0" i="0">
                <a:solidFill>
                  <a:srgbClr val="001D35"/>
                </a:solidFill>
                <a:effectLst/>
              </a:rPr>
              <a:t>.</a:t>
            </a:r>
            <a:endParaRPr lang="en-IN" sz="1100" i="1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8F3042-AB6D-46D0-26B7-CFE1474C4D4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963803">
            <a:off x="45443" y="1045362"/>
            <a:ext cx="677642" cy="677642"/>
          </a:xfrm>
          <a:prstGeom prst="rect">
            <a:avLst/>
          </a:prstGeom>
        </p:spPr>
      </p:pic>
      <p:sp>
        <p:nvSpPr>
          <p:cNvPr id="10" name="object 35">
            <a:extLst>
              <a:ext uri="{FF2B5EF4-FFF2-40B4-BE49-F238E27FC236}">
                <a16:creationId xmlns:a16="http://schemas.microsoft.com/office/drawing/2014/main" id="{2E065C3F-E80F-CD54-12A1-8868CFC81FB3}"/>
              </a:ext>
            </a:extLst>
          </p:cNvPr>
          <p:cNvSpPr/>
          <p:nvPr/>
        </p:nvSpPr>
        <p:spPr>
          <a:xfrm>
            <a:off x="193038" y="3016162"/>
            <a:ext cx="1693318" cy="581779"/>
          </a:xfrm>
          <a:custGeom>
            <a:avLst/>
            <a:gdLst/>
            <a:ahLst/>
            <a:cxnLst/>
            <a:rect l="l" t="t" r="r" b="b"/>
            <a:pathLst>
              <a:path w="1962150" h="914400">
                <a:moveTo>
                  <a:pt x="1809750" y="0"/>
                </a:moveTo>
                <a:lnTo>
                  <a:pt x="152400" y="0"/>
                </a:lnTo>
                <a:lnTo>
                  <a:pt x="104217" y="7766"/>
                </a:lnTo>
                <a:lnTo>
                  <a:pt x="62380" y="29394"/>
                </a:lnTo>
                <a:lnTo>
                  <a:pt x="29394" y="62380"/>
                </a:lnTo>
                <a:lnTo>
                  <a:pt x="7766" y="104217"/>
                </a:lnTo>
                <a:lnTo>
                  <a:pt x="0" y="152400"/>
                </a:lnTo>
                <a:lnTo>
                  <a:pt x="0" y="762000"/>
                </a:lnTo>
                <a:lnTo>
                  <a:pt x="7766" y="810182"/>
                </a:lnTo>
                <a:lnTo>
                  <a:pt x="29394" y="852019"/>
                </a:lnTo>
                <a:lnTo>
                  <a:pt x="62380" y="885005"/>
                </a:lnTo>
                <a:lnTo>
                  <a:pt x="104217" y="906633"/>
                </a:lnTo>
                <a:lnTo>
                  <a:pt x="152400" y="914400"/>
                </a:lnTo>
                <a:lnTo>
                  <a:pt x="1809750" y="914400"/>
                </a:lnTo>
                <a:lnTo>
                  <a:pt x="1857932" y="906633"/>
                </a:lnTo>
                <a:lnTo>
                  <a:pt x="1899769" y="885005"/>
                </a:lnTo>
                <a:lnTo>
                  <a:pt x="1932755" y="852019"/>
                </a:lnTo>
                <a:lnTo>
                  <a:pt x="1954383" y="810182"/>
                </a:lnTo>
                <a:lnTo>
                  <a:pt x="1962150" y="762000"/>
                </a:lnTo>
                <a:lnTo>
                  <a:pt x="1962150" y="152400"/>
                </a:lnTo>
                <a:lnTo>
                  <a:pt x="1954383" y="104217"/>
                </a:lnTo>
                <a:lnTo>
                  <a:pt x="1932755" y="62380"/>
                </a:lnTo>
                <a:lnTo>
                  <a:pt x="1899769" y="29394"/>
                </a:lnTo>
                <a:lnTo>
                  <a:pt x="1857932" y="7766"/>
                </a:lnTo>
                <a:lnTo>
                  <a:pt x="1809750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11" name="object 36">
            <a:extLst>
              <a:ext uri="{FF2B5EF4-FFF2-40B4-BE49-F238E27FC236}">
                <a16:creationId xmlns:a16="http://schemas.microsoft.com/office/drawing/2014/main" id="{60772033-9BB7-D14A-79ED-DB30192494B6}"/>
              </a:ext>
            </a:extLst>
          </p:cNvPr>
          <p:cNvSpPr/>
          <p:nvPr/>
        </p:nvSpPr>
        <p:spPr>
          <a:xfrm>
            <a:off x="772602" y="3069595"/>
            <a:ext cx="0" cy="477124"/>
          </a:xfrm>
          <a:custGeom>
            <a:avLst/>
            <a:gdLst/>
            <a:ahLst/>
            <a:cxnLst/>
            <a:rect l="l" t="t" r="r" b="b"/>
            <a:pathLst>
              <a:path h="619760">
                <a:moveTo>
                  <a:pt x="0" y="0"/>
                </a:moveTo>
                <a:lnTo>
                  <a:pt x="0" y="619760"/>
                </a:lnTo>
              </a:path>
            </a:pathLst>
          </a:custGeom>
          <a:ln w="12700">
            <a:solidFill>
              <a:schemeClr val="accent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pic>
        <p:nvPicPr>
          <p:cNvPr id="12" name="object 37">
            <a:extLst>
              <a:ext uri="{FF2B5EF4-FFF2-40B4-BE49-F238E27FC236}">
                <a16:creationId xmlns:a16="http://schemas.microsoft.com/office/drawing/2014/main" id="{7F457E08-AE0C-AA87-3D77-A8D835C559FC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99898" y="3139210"/>
            <a:ext cx="378120" cy="337311"/>
          </a:xfrm>
          <a:prstGeom prst="rect">
            <a:avLst/>
          </a:prstGeom>
        </p:spPr>
      </p:pic>
      <p:sp>
        <p:nvSpPr>
          <p:cNvPr id="14" name="object 40">
            <a:extLst>
              <a:ext uri="{FF2B5EF4-FFF2-40B4-BE49-F238E27FC236}">
                <a16:creationId xmlns:a16="http://schemas.microsoft.com/office/drawing/2014/main" id="{13469B07-D594-CEEA-C16B-438EFB233194}"/>
              </a:ext>
            </a:extLst>
          </p:cNvPr>
          <p:cNvSpPr/>
          <p:nvPr/>
        </p:nvSpPr>
        <p:spPr>
          <a:xfrm>
            <a:off x="193038" y="2309641"/>
            <a:ext cx="1693321" cy="587840"/>
          </a:xfrm>
          <a:custGeom>
            <a:avLst/>
            <a:gdLst/>
            <a:ahLst/>
            <a:cxnLst/>
            <a:rect l="l" t="t" r="r" b="b"/>
            <a:pathLst>
              <a:path w="1962150" h="923925">
                <a:moveTo>
                  <a:pt x="1808099" y="0"/>
                </a:moveTo>
                <a:lnTo>
                  <a:pt x="154050" y="0"/>
                </a:lnTo>
                <a:lnTo>
                  <a:pt x="105355" y="7852"/>
                </a:lnTo>
                <a:lnTo>
                  <a:pt x="63066" y="29720"/>
                </a:lnTo>
                <a:lnTo>
                  <a:pt x="29720" y="63066"/>
                </a:lnTo>
                <a:lnTo>
                  <a:pt x="7852" y="105355"/>
                </a:lnTo>
                <a:lnTo>
                  <a:pt x="0" y="154050"/>
                </a:lnTo>
                <a:lnTo>
                  <a:pt x="0" y="769874"/>
                </a:lnTo>
                <a:lnTo>
                  <a:pt x="7852" y="818569"/>
                </a:lnTo>
                <a:lnTo>
                  <a:pt x="29720" y="860858"/>
                </a:lnTo>
                <a:lnTo>
                  <a:pt x="63066" y="894204"/>
                </a:lnTo>
                <a:lnTo>
                  <a:pt x="105355" y="916072"/>
                </a:lnTo>
                <a:lnTo>
                  <a:pt x="154050" y="923925"/>
                </a:lnTo>
                <a:lnTo>
                  <a:pt x="1808099" y="923925"/>
                </a:lnTo>
                <a:lnTo>
                  <a:pt x="1856794" y="916072"/>
                </a:lnTo>
                <a:lnTo>
                  <a:pt x="1899083" y="894204"/>
                </a:lnTo>
                <a:lnTo>
                  <a:pt x="1932429" y="860858"/>
                </a:lnTo>
                <a:lnTo>
                  <a:pt x="1954297" y="818569"/>
                </a:lnTo>
                <a:lnTo>
                  <a:pt x="1962150" y="769874"/>
                </a:lnTo>
                <a:lnTo>
                  <a:pt x="1962150" y="154050"/>
                </a:lnTo>
                <a:lnTo>
                  <a:pt x="1954297" y="105355"/>
                </a:lnTo>
                <a:lnTo>
                  <a:pt x="1932429" y="63066"/>
                </a:lnTo>
                <a:lnTo>
                  <a:pt x="1899083" y="29720"/>
                </a:lnTo>
                <a:lnTo>
                  <a:pt x="1856794" y="7852"/>
                </a:lnTo>
                <a:lnTo>
                  <a:pt x="1808099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00"/>
          </a:p>
        </p:txBody>
      </p:sp>
      <p:pic>
        <p:nvPicPr>
          <p:cNvPr id="15" name="object 41">
            <a:extLst>
              <a:ext uri="{FF2B5EF4-FFF2-40B4-BE49-F238E27FC236}">
                <a16:creationId xmlns:a16="http://schemas.microsoft.com/office/drawing/2014/main" id="{034BC2EE-1DB4-2288-3DCD-D8D1444E9488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74641" y="2404351"/>
            <a:ext cx="370921" cy="373975"/>
          </a:xfrm>
          <a:prstGeom prst="rect">
            <a:avLst/>
          </a:prstGeom>
        </p:spPr>
      </p:pic>
      <p:sp>
        <p:nvSpPr>
          <p:cNvPr id="16" name="object 42">
            <a:extLst>
              <a:ext uri="{FF2B5EF4-FFF2-40B4-BE49-F238E27FC236}">
                <a16:creationId xmlns:a16="http://schemas.microsoft.com/office/drawing/2014/main" id="{1D5D5D5E-B310-84FE-45D7-2B106E25A6A1}"/>
              </a:ext>
            </a:extLst>
          </p:cNvPr>
          <p:cNvSpPr txBox="1"/>
          <p:nvPr/>
        </p:nvSpPr>
        <p:spPr>
          <a:xfrm>
            <a:off x="759512" y="2321503"/>
            <a:ext cx="1073676" cy="542456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81280" algn="ctr">
              <a:lnSpc>
                <a:spcPts val="2520"/>
              </a:lnSpc>
              <a:spcBef>
                <a:spcPts val="130"/>
              </a:spcBef>
            </a:pPr>
            <a:r>
              <a:rPr lang="en-IN" sz="1600" b="1">
                <a:solidFill>
                  <a:srgbClr val="C00000"/>
                </a:solidFill>
                <a:cs typeface="Carlito"/>
              </a:rPr>
              <a:t>$77.28 Bn</a:t>
            </a:r>
            <a:endParaRPr lang="en-IN" sz="1600">
              <a:solidFill>
                <a:srgbClr val="C00000"/>
              </a:solidFill>
              <a:cs typeface="Carlito"/>
            </a:endParaRPr>
          </a:p>
          <a:p>
            <a:pPr marL="12700" algn="ctr">
              <a:lnSpc>
                <a:spcPts val="1620"/>
              </a:lnSpc>
            </a:pPr>
            <a:r>
              <a:rPr sz="1200">
                <a:solidFill>
                  <a:srgbClr val="C00000"/>
                </a:solidFill>
                <a:cs typeface="Carlito"/>
              </a:rPr>
              <a:t>dollar</a:t>
            </a:r>
            <a:r>
              <a:rPr sz="1200" spc="-35">
                <a:solidFill>
                  <a:srgbClr val="C00000"/>
                </a:solidFill>
                <a:cs typeface="Carlito"/>
              </a:rPr>
              <a:t> </a:t>
            </a:r>
            <a:r>
              <a:rPr sz="1200" spc="-10">
                <a:solidFill>
                  <a:srgbClr val="C00000"/>
                </a:solidFill>
                <a:cs typeface="Carlito"/>
              </a:rPr>
              <a:t>industry</a:t>
            </a:r>
            <a:endParaRPr sz="1200">
              <a:solidFill>
                <a:srgbClr val="C00000"/>
              </a:solidFill>
              <a:cs typeface="Carlito"/>
            </a:endParaRPr>
          </a:p>
        </p:txBody>
      </p:sp>
      <p:sp>
        <p:nvSpPr>
          <p:cNvPr id="17" name="object 43">
            <a:extLst>
              <a:ext uri="{FF2B5EF4-FFF2-40B4-BE49-F238E27FC236}">
                <a16:creationId xmlns:a16="http://schemas.microsoft.com/office/drawing/2014/main" id="{DBFEC3BE-B10A-1775-0122-E89E360BCC81}"/>
              </a:ext>
            </a:extLst>
          </p:cNvPr>
          <p:cNvSpPr/>
          <p:nvPr/>
        </p:nvSpPr>
        <p:spPr>
          <a:xfrm>
            <a:off x="723506" y="2382807"/>
            <a:ext cx="0" cy="477124"/>
          </a:xfrm>
          <a:custGeom>
            <a:avLst/>
            <a:gdLst/>
            <a:ahLst/>
            <a:cxnLst/>
            <a:rect l="l" t="t" r="r" b="b"/>
            <a:pathLst>
              <a:path h="619760">
                <a:moveTo>
                  <a:pt x="0" y="0"/>
                </a:moveTo>
                <a:lnTo>
                  <a:pt x="0" y="619760"/>
                </a:lnTo>
              </a:path>
            </a:pathLst>
          </a:custGeom>
          <a:ln w="12700">
            <a:solidFill>
              <a:schemeClr val="accent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18" name="object 38">
            <a:extLst>
              <a:ext uri="{FF2B5EF4-FFF2-40B4-BE49-F238E27FC236}">
                <a16:creationId xmlns:a16="http://schemas.microsoft.com/office/drawing/2014/main" id="{CB27D5B5-9D57-797F-0F11-68B51F0AB6FA}"/>
              </a:ext>
            </a:extLst>
          </p:cNvPr>
          <p:cNvSpPr txBox="1"/>
          <p:nvPr/>
        </p:nvSpPr>
        <p:spPr>
          <a:xfrm>
            <a:off x="797388" y="3044558"/>
            <a:ext cx="990308" cy="446917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33655" algn="ctr">
              <a:spcBef>
                <a:spcPts val="125"/>
              </a:spcBef>
            </a:pPr>
            <a:r>
              <a:rPr lang="en-IN" sz="1600" b="1" spc="75">
                <a:solidFill>
                  <a:srgbClr val="C00000"/>
                </a:solidFill>
                <a:cs typeface="Carlito"/>
              </a:rPr>
              <a:t>6.13%</a:t>
            </a:r>
            <a:br>
              <a:rPr lang="en-IN" sz="2000" b="1" spc="75">
                <a:solidFill>
                  <a:srgbClr val="C00000"/>
                </a:solidFill>
                <a:cs typeface="Carlito"/>
              </a:rPr>
            </a:br>
            <a:r>
              <a:rPr lang="en-IN" sz="1100" b="1" spc="-20">
                <a:solidFill>
                  <a:srgbClr val="C00000"/>
                </a:solidFill>
                <a:cs typeface="Carlito"/>
              </a:rPr>
              <a:t>CAGR </a:t>
            </a:r>
            <a:r>
              <a:rPr lang="en-IN" sz="1200">
                <a:solidFill>
                  <a:srgbClr val="C00000"/>
                </a:solidFill>
                <a:cs typeface="Carlito"/>
              </a:rPr>
              <a:t>(2024-</a:t>
            </a:r>
            <a:r>
              <a:rPr lang="en-IN" sz="1200" spc="-25">
                <a:solidFill>
                  <a:srgbClr val="C00000"/>
                </a:solidFill>
                <a:cs typeface="Carlito"/>
              </a:rPr>
              <a:t>29)</a:t>
            </a:r>
            <a:endParaRPr lang="en-IN" sz="1200">
              <a:solidFill>
                <a:srgbClr val="C00000"/>
              </a:solidFill>
              <a:cs typeface="Carlito"/>
            </a:endParaRP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A78E32EA-44E1-4DCF-3F02-F87A1D7A9CAF}"/>
              </a:ext>
            </a:extLst>
          </p:cNvPr>
          <p:cNvCxnSpPr>
            <a:cxnSpLocks/>
          </p:cNvCxnSpPr>
          <p:nvPr/>
        </p:nvCxnSpPr>
        <p:spPr>
          <a:xfrm>
            <a:off x="8464258" y="3769570"/>
            <a:ext cx="0" cy="2616302"/>
          </a:xfrm>
          <a:prstGeom prst="line">
            <a:avLst/>
          </a:prstGeom>
          <a:ln w="12192">
            <a:solidFill>
              <a:schemeClr val="bg1">
                <a:lumMod val="65000"/>
              </a:schemeClr>
            </a:solidFill>
            <a:prstDash val="lgDash"/>
          </a:ln>
        </p:spPr>
      </p:cxnSp>
      <p:sp>
        <p:nvSpPr>
          <p:cNvPr id="128" name="Rectangle 13">
            <a:extLst>
              <a:ext uri="{FF2B5EF4-FFF2-40B4-BE49-F238E27FC236}">
                <a16:creationId xmlns:a16="http://schemas.microsoft.com/office/drawing/2014/main" id="{93228D3A-0D8D-3D7E-2791-38C6C684FA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323165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48BFAFAC-1354-21A3-586C-759994C01C2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6838" y="5439810"/>
            <a:ext cx="505234" cy="414803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8005DB48-6919-A70A-386D-5C5D992C2E2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441" y="4884782"/>
            <a:ext cx="518572" cy="344442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E9427E8E-948D-902D-4ADB-F56F9C729AA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3332" y="4224855"/>
            <a:ext cx="636923" cy="636923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5E56081E-B57F-9E96-D823-7221B1E9EAF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3153" y="4264288"/>
            <a:ext cx="636923" cy="636923"/>
          </a:xfrm>
          <a:prstGeom prst="rect">
            <a:avLst/>
          </a:prstGeom>
        </p:spPr>
      </p:pic>
      <p:pic>
        <p:nvPicPr>
          <p:cNvPr id="111" name="Picture 110">
            <a:extLst>
              <a:ext uri="{FF2B5EF4-FFF2-40B4-BE49-F238E27FC236}">
                <a16:creationId xmlns:a16="http://schemas.microsoft.com/office/drawing/2014/main" id="{12E6F454-279E-C90C-EEB6-1C91AEA0F8B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7335" y="5674123"/>
            <a:ext cx="356070" cy="356070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E5C2BB49-DA05-38CE-2DDF-4CB7E1C4269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1025" y="5912829"/>
            <a:ext cx="395586" cy="395586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3142BE48-9173-EA50-0BE6-75DEC491AF2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8271" y="4659370"/>
            <a:ext cx="559391" cy="197651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33D7D75F-5A57-AEAE-F6D0-FD9F4E47DEB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3513" y="5879039"/>
            <a:ext cx="375858" cy="281531"/>
          </a:xfrm>
          <a:prstGeom prst="rect">
            <a:avLst/>
          </a:prstGeom>
        </p:spPr>
      </p:pic>
      <p:pic>
        <p:nvPicPr>
          <p:cNvPr id="123" name="Picture 122">
            <a:extLst>
              <a:ext uri="{FF2B5EF4-FFF2-40B4-BE49-F238E27FC236}">
                <a16:creationId xmlns:a16="http://schemas.microsoft.com/office/drawing/2014/main" id="{0F24EAEA-A86E-ECED-586A-C65B4391745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5736" y="4880161"/>
            <a:ext cx="439245" cy="301474"/>
          </a:xfrm>
          <a:prstGeom prst="rect">
            <a:avLst/>
          </a:prstGeom>
        </p:spPr>
      </p:pic>
      <p:sp>
        <p:nvSpPr>
          <p:cNvPr id="127" name="TextBox 126">
            <a:extLst>
              <a:ext uri="{FF2B5EF4-FFF2-40B4-BE49-F238E27FC236}">
                <a16:creationId xmlns:a16="http://schemas.microsoft.com/office/drawing/2014/main" id="{74461280-AA29-8BD7-8031-355E40FE0C11}"/>
              </a:ext>
            </a:extLst>
          </p:cNvPr>
          <p:cNvSpPr txBox="1"/>
          <p:nvPr/>
        </p:nvSpPr>
        <p:spPr>
          <a:xfrm>
            <a:off x="1727956" y="2525819"/>
            <a:ext cx="47460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000"/>
              <a:t>120</a:t>
            </a:r>
          </a:p>
          <a:p>
            <a:pPr algn="r"/>
            <a:r>
              <a:rPr lang="en-IN" sz="1000"/>
              <a:t>100</a:t>
            </a:r>
          </a:p>
          <a:p>
            <a:pPr algn="r"/>
            <a:r>
              <a:rPr lang="en-IN" sz="1000"/>
              <a:t>80</a:t>
            </a:r>
          </a:p>
          <a:p>
            <a:pPr algn="r"/>
            <a:r>
              <a:rPr lang="en-IN" sz="1000"/>
              <a:t>60</a:t>
            </a:r>
          </a:p>
          <a:p>
            <a:pPr algn="r"/>
            <a:r>
              <a:rPr lang="en-IN" sz="1000"/>
              <a:t>40</a:t>
            </a:r>
          </a:p>
          <a:p>
            <a:pPr algn="r"/>
            <a:r>
              <a:rPr lang="en-IN" sz="1000"/>
              <a:t>20</a:t>
            </a:r>
          </a:p>
          <a:p>
            <a:pPr algn="r"/>
            <a:r>
              <a:rPr lang="en-IN" sz="1000"/>
              <a:t>0</a:t>
            </a:r>
          </a:p>
        </p:txBody>
      </p:sp>
      <p:sp>
        <p:nvSpPr>
          <p:cNvPr id="1024" name="Rectangle 1023">
            <a:extLst>
              <a:ext uri="{FF2B5EF4-FFF2-40B4-BE49-F238E27FC236}">
                <a16:creationId xmlns:a16="http://schemas.microsoft.com/office/drawing/2014/main" id="{F3379A69-1199-81F4-B4B4-6FEFCAF8C12A}"/>
              </a:ext>
            </a:extLst>
          </p:cNvPr>
          <p:cNvSpPr/>
          <p:nvPr/>
        </p:nvSpPr>
        <p:spPr>
          <a:xfrm>
            <a:off x="10442031" y="4286399"/>
            <a:ext cx="1442533" cy="532746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27" name="Rectangle 1026">
            <a:extLst>
              <a:ext uri="{FF2B5EF4-FFF2-40B4-BE49-F238E27FC236}">
                <a16:creationId xmlns:a16="http://schemas.microsoft.com/office/drawing/2014/main" id="{CBB7AFEA-6DFE-769D-E93A-7A938B0C0E40}"/>
              </a:ext>
            </a:extLst>
          </p:cNvPr>
          <p:cNvSpPr/>
          <p:nvPr/>
        </p:nvSpPr>
        <p:spPr>
          <a:xfrm>
            <a:off x="10610441" y="241886"/>
            <a:ext cx="1469924" cy="5046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35" name="Picture 1034">
            <a:extLst>
              <a:ext uri="{FF2B5EF4-FFF2-40B4-BE49-F238E27FC236}">
                <a16:creationId xmlns:a16="http://schemas.microsoft.com/office/drawing/2014/main" id="{51252CB6-D6DB-B68A-43EE-254FD930AA5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440" y="1343751"/>
            <a:ext cx="963819" cy="963819"/>
          </a:xfrm>
          <a:prstGeom prst="rect">
            <a:avLst/>
          </a:prstGeom>
        </p:spPr>
      </p:pic>
      <p:pic>
        <p:nvPicPr>
          <p:cNvPr id="1038" name="Picture 1037">
            <a:extLst>
              <a:ext uri="{FF2B5EF4-FFF2-40B4-BE49-F238E27FC236}">
                <a16:creationId xmlns:a16="http://schemas.microsoft.com/office/drawing/2014/main" id="{956E584C-0EBE-7682-2187-CF43CBF378D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3243" y="1334068"/>
            <a:ext cx="951421" cy="951421"/>
          </a:xfrm>
          <a:prstGeom prst="rect">
            <a:avLst/>
          </a:prstGeom>
        </p:spPr>
      </p:pic>
      <p:sp>
        <p:nvSpPr>
          <p:cNvPr id="1045" name="Rectangle 1044">
            <a:extLst>
              <a:ext uri="{FF2B5EF4-FFF2-40B4-BE49-F238E27FC236}">
                <a16:creationId xmlns:a16="http://schemas.microsoft.com/office/drawing/2014/main" id="{D368F83A-ACCD-C7B8-1E89-341DFCA4BBAA}"/>
              </a:ext>
            </a:extLst>
          </p:cNvPr>
          <p:cNvSpPr/>
          <p:nvPr/>
        </p:nvSpPr>
        <p:spPr>
          <a:xfrm>
            <a:off x="6689282" y="2692489"/>
            <a:ext cx="1246362" cy="2323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46" name="TextBox 1045">
            <a:extLst>
              <a:ext uri="{FF2B5EF4-FFF2-40B4-BE49-F238E27FC236}">
                <a16:creationId xmlns:a16="http://schemas.microsoft.com/office/drawing/2014/main" id="{A813C7B5-5A35-14C9-C4E2-183E6CDDB593}"/>
              </a:ext>
            </a:extLst>
          </p:cNvPr>
          <p:cNvSpPr txBox="1"/>
          <p:nvPr/>
        </p:nvSpPr>
        <p:spPr>
          <a:xfrm>
            <a:off x="6842684" y="2644494"/>
            <a:ext cx="1469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FF0000"/>
                </a:solidFill>
              </a:rPr>
              <a:t>Pain Points</a:t>
            </a:r>
          </a:p>
        </p:txBody>
      </p:sp>
      <p:sp>
        <p:nvSpPr>
          <p:cNvPr id="1049" name="Rectangle 1048">
            <a:extLst>
              <a:ext uri="{FF2B5EF4-FFF2-40B4-BE49-F238E27FC236}">
                <a16:creationId xmlns:a16="http://schemas.microsoft.com/office/drawing/2014/main" id="{4D15982E-0262-5C72-2C38-96D8C5AC78ED}"/>
              </a:ext>
            </a:extLst>
          </p:cNvPr>
          <p:cNvSpPr/>
          <p:nvPr/>
        </p:nvSpPr>
        <p:spPr>
          <a:xfrm>
            <a:off x="8677324" y="2693515"/>
            <a:ext cx="1246362" cy="2323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50" name="Rectangle 1049">
            <a:extLst>
              <a:ext uri="{FF2B5EF4-FFF2-40B4-BE49-F238E27FC236}">
                <a16:creationId xmlns:a16="http://schemas.microsoft.com/office/drawing/2014/main" id="{01461261-5A7A-47BE-E0F4-FC53B84DD943}"/>
              </a:ext>
            </a:extLst>
          </p:cNvPr>
          <p:cNvSpPr/>
          <p:nvPr/>
        </p:nvSpPr>
        <p:spPr>
          <a:xfrm>
            <a:off x="10488572" y="2685187"/>
            <a:ext cx="1246362" cy="2323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47" name="TextBox 1046">
            <a:extLst>
              <a:ext uri="{FF2B5EF4-FFF2-40B4-BE49-F238E27FC236}">
                <a16:creationId xmlns:a16="http://schemas.microsoft.com/office/drawing/2014/main" id="{9EC76A2D-8E60-6C06-BF95-8019CDB3D01B}"/>
              </a:ext>
            </a:extLst>
          </p:cNvPr>
          <p:cNvSpPr txBox="1"/>
          <p:nvPr/>
        </p:nvSpPr>
        <p:spPr>
          <a:xfrm>
            <a:off x="8812448" y="2655167"/>
            <a:ext cx="1469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FF0000"/>
                </a:solidFill>
              </a:rPr>
              <a:t>Pain Points</a:t>
            </a: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C56EE72C-F37B-03D5-52D7-F2EFA3457A94}"/>
              </a:ext>
            </a:extLst>
          </p:cNvPr>
          <p:cNvSpPr txBox="1"/>
          <p:nvPr/>
        </p:nvSpPr>
        <p:spPr>
          <a:xfrm>
            <a:off x="10621228" y="2645626"/>
            <a:ext cx="1469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FF0000"/>
                </a:solidFill>
              </a:rPr>
              <a:t>Pain Points</a:t>
            </a:r>
          </a:p>
        </p:txBody>
      </p:sp>
      <p:pic>
        <p:nvPicPr>
          <p:cNvPr id="1054" name="Picture 1053">
            <a:extLst>
              <a:ext uri="{FF2B5EF4-FFF2-40B4-BE49-F238E27FC236}">
                <a16:creationId xmlns:a16="http://schemas.microsoft.com/office/drawing/2014/main" id="{3CE26005-EC44-5B4F-784C-84483C7B046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4124" y="1371773"/>
            <a:ext cx="849498" cy="849498"/>
          </a:xfrm>
          <a:prstGeom prst="rect">
            <a:avLst/>
          </a:prstGeom>
        </p:spPr>
      </p:pic>
      <p:sp>
        <p:nvSpPr>
          <p:cNvPr id="1055" name="TextBox 1054">
            <a:extLst>
              <a:ext uri="{FF2B5EF4-FFF2-40B4-BE49-F238E27FC236}">
                <a16:creationId xmlns:a16="http://schemas.microsoft.com/office/drawing/2014/main" id="{57F15DEB-C00D-C740-4CA9-6A66F5E5737D}"/>
              </a:ext>
            </a:extLst>
          </p:cNvPr>
          <p:cNvSpPr txBox="1"/>
          <p:nvPr/>
        </p:nvSpPr>
        <p:spPr>
          <a:xfrm>
            <a:off x="6483987" y="2253371"/>
            <a:ext cx="16934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b="1"/>
              <a:t>Julien martin, an Investment Banker</a:t>
            </a:r>
          </a:p>
        </p:txBody>
      </p:sp>
      <p:sp>
        <p:nvSpPr>
          <p:cNvPr id="1056" name="TextBox 1055">
            <a:extLst>
              <a:ext uri="{FF2B5EF4-FFF2-40B4-BE49-F238E27FC236}">
                <a16:creationId xmlns:a16="http://schemas.microsoft.com/office/drawing/2014/main" id="{312A8BC1-11B0-DDBE-4745-9482AEED2D5C}"/>
              </a:ext>
            </a:extLst>
          </p:cNvPr>
          <p:cNvSpPr txBox="1"/>
          <p:nvPr/>
        </p:nvSpPr>
        <p:spPr>
          <a:xfrm>
            <a:off x="8464258" y="2259986"/>
            <a:ext cx="16934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b="1"/>
              <a:t>Maria Curie, a Luxury Travel Vlogger</a:t>
            </a:r>
          </a:p>
        </p:txBody>
      </p:sp>
      <p:sp>
        <p:nvSpPr>
          <p:cNvPr id="1057" name="TextBox 1056">
            <a:extLst>
              <a:ext uri="{FF2B5EF4-FFF2-40B4-BE49-F238E27FC236}">
                <a16:creationId xmlns:a16="http://schemas.microsoft.com/office/drawing/2014/main" id="{25651320-C815-1528-E255-808E7B2C4F3F}"/>
              </a:ext>
            </a:extLst>
          </p:cNvPr>
          <p:cNvSpPr txBox="1"/>
          <p:nvPr/>
        </p:nvSpPr>
        <p:spPr>
          <a:xfrm>
            <a:off x="10319450" y="2265992"/>
            <a:ext cx="16934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b="1"/>
              <a:t>Julien n Group,</a:t>
            </a:r>
          </a:p>
          <a:p>
            <a:pPr algn="ctr"/>
            <a:r>
              <a:rPr lang="en-IN" sz="1200" b="1"/>
              <a:t> Tourists </a:t>
            </a:r>
          </a:p>
        </p:txBody>
      </p:sp>
      <p:sp>
        <p:nvSpPr>
          <p:cNvPr id="1059" name="TextBox 1058">
            <a:extLst>
              <a:ext uri="{FF2B5EF4-FFF2-40B4-BE49-F238E27FC236}">
                <a16:creationId xmlns:a16="http://schemas.microsoft.com/office/drawing/2014/main" id="{F4D07035-3199-E4D7-B263-75C39F514213}"/>
              </a:ext>
            </a:extLst>
          </p:cNvPr>
          <p:cNvSpPr txBox="1"/>
          <p:nvPr/>
        </p:nvSpPr>
        <p:spPr>
          <a:xfrm>
            <a:off x="6329680" y="2907641"/>
            <a:ext cx="200876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/>
              <a:t>Overcrowded fine dining, difficulty in maintaining professional standards </a:t>
            </a:r>
          </a:p>
        </p:txBody>
      </p:sp>
      <p:sp>
        <p:nvSpPr>
          <p:cNvPr id="1060" name="TextBox 1059">
            <a:extLst>
              <a:ext uri="{FF2B5EF4-FFF2-40B4-BE49-F238E27FC236}">
                <a16:creationId xmlns:a16="http://schemas.microsoft.com/office/drawing/2014/main" id="{0563002E-AAB5-9B02-5B2E-6EC0F9170516}"/>
              </a:ext>
            </a:extLst>
          </p:cNvPr>
          <p:cNvSpPr txBox="1"/>
          <p:nvPr/>
        </p:nvSpPr>
        <p:spPr>
          <a:xfrm>
            <a:off x="8311177" y="2897417"/>
            <a:ext cx="200876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/>
              <a:t>Difficulty finding luxury Experience, faces pressure balancing authentic food with exclusivity  </a:t>
            </a:r>
          </a:p>
        </p:txBody>
      </p:sp>
      <p:sp>
        <p:nvSpPr>
          <p:cNvPr id="1061" name="TextBox 1060">
            <a:extLst>
              <a:ext uri="{FF2B5EF4-FFF2-40B4-BE49-F238E27FC236}">
                <a16:creationId xmlns:a16="http://schemas.microsoft.com/office/drawing/2014/main" id="{7DBF4C7B-F796-D2DC-7248-0B0D3871964A}"/>
              </a:ext>
            </a:extLst>
          </p:cNvPr>
          <p:cNvSpPr txBox="1"/>
          <p:nvPr/>
        </p:nvSpPr>
        <p:spPr>
          <a:xfrm>
            <a:off x="10056342" y="2895901"/>
            <a:ext cx="200876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/>
              <a:t>Difficulty in finding cultural taste, exploring authenticity, prefers  unique over mainstream experience  </a:t>
            </a:r>
          </a:p>
        </p:txBody>
      </p:sp>
      <p:cxnSp>
        <p:nvCxnSpPr>
          <p:cNvPr id="1063" name="Straight Arrow Connector 1062">
            <a:extLst>
              <a:ext uri="{FF2B5EF4-FFF2-40B4-BE49-F238E27FC236}">
                <a16:creationId xmlns:a16="http://schemas.microsoft.com/office/drawing/2014/main" id="{10D50FDE-F929-3B30-205E-6BB6CBA10B49}"/>
              </a:ext>
            </a:extLst>
          </p:cNvPr>
          <p:cNvCxnSpPr>
            <a:cxnSpLocks/>
          </p:cNvCxnSpPr>
          <p:nvPr/>
        </p:nvCxnSpPr>
        <p:spPr>
          <a:xfrm flipH="1" flipV="1">
            <a:off x="9713791" y="4361380"/>
            <a:ext cx="606405" cy="150563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4" name="Rectangle 1063">
            <a:extLst>
              <a:ext uri="{FF2B5EF4-FFF2-40B4-BE49-F238E27FC236}">
                <a16:creationId xmlns:a16="http://schemas.microsoft.com/office/drawing/2014/main" id="{AB1852B5-A841-08D0-4A13-6AD3CD92C872}"/>
              </a:ext>
            </a:extLst>
          </p:cNvPr>
          <p:cNvSpPr/>
          <p:nvPr/>
        </p:nvSpPr>
        <p:spPr>
          <a:xfrm>
            <a:off x="6261844" y="935307"/>
            <a:ext cx="5803262" cy="251671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ANALYSING POTENTIAL PERSONAS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36EC33E-F322-B055-1598-2A9C1B089170}"/>
              </a:ext>
            </a:extLst>
          </p:cNvPr>
          <p:cNvSpPr/>
          <p:nvPr/>
        </p:nvSpPr>
        <p:spPr>
          <a:xfrm>
            <a:off x="123124" y="3809432"/>
            <a:ext cx="3324455" cy="259328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 REVOLVING AROUND MILLIONAIRES</a:t>
            </a:r>
            <a:endParaRPr lang="en-IN" sz="1400" b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B55FE36-67E1-D27F-531C-4D37D91345DD}"/>
              </a:ext>
            </a:extLst>
          </p:cNvPr>
          <p:cNvSpPr/>
          <p:nvPr/>
        </p:nvSpPr>
        <p:spPr>
          <a:xfrm>
            <a:off x="55569" y="5390270"/>
            <a:ext cx="3392010" cy="366153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9" name="object 40">
            <a:extLst>
              <a:ext uri="{FF2B5EF4-FFF2-40B4-BE49-F238E27FC236}">
                <a16:creationId xmlns:a16="http://schemas.microsoft.com/office/drawing/2014/main" id="{0E81A220-8519-7989-80C1-70308CBB3759}"/>
              </a:ext>
            </a:extLst>
          </p:cNvPr>
          <p:cNvSpPr/>
          <p:nvPr/>
        </p:nvSpPr>
        <p:spPr>
          <a:xfrm>
            <a:off x="8592315" y="4248419"/>
            <a:ext cx="1081957" cy="253916"/>
          </a:xfrm>
          <a:custGeom>
            <a:avLst/>
            <a:gdLst/>
            <a:ahLst/>
            <a:cxnLst/>
            <a:rect l="l" t="t" r="r" b="b"/>
            <a:pathLst>
              <a:path w="1962150" h="923925">
                <a:moveTo>
                  <a:pt x="1808099" y="0"/>
                </a:moveTo>
                <a:lnTo>
                  <a:pt x="154050" y="0"/>
                </a:lnTo>
                <a:lnTo>
                  <a:pt x="105355" y="7852"/>
                </a:lnTo>
                <a:lnTo>
                  <a:pt x="63066" y="29720"/>
                </a:lnTo>
                <a:lnTo>
                  <a:pt x="29720" y="63066"/>
                </a:lnTo>
                <a:lnTo>
                  <a:pt x="7852" y="105355"/>
                </a:lnTo>
                <a:lnTo>
                  <a:pt x="0" y="154050"/>
                </a:lnTo>
                <a:lnTo>
                  <a:pt x="0" y="769874"/>
                </a:lnTo>
                <a:lnTo>
                  <a:pt x="7852" y="818569"/>
                </a:lnTo>
                <a:lnTo>
                  <a:pt x="29720" y="860858"/>
                </a:lnTo>
                <a:lnTo>
                  <a:pt x="63066" y="894204"/>
                </a:lnTo>
                <a:lnTo>
                  <a:pt x="105355" y="916072"/>
                </a:lnTo>
                <a:lnTo>
                  <a:pt x="154050" y="923925"/>
                </a:lnTo>
                <a:lnTo>
                  <a:pt x="1808099" y="923925"/>
                </a:lnTo>
                <a:lnTo>
                  <a:pt x="1856794" y="916072"/>
                </a:lnTo>
                <a:lnTo>
                  <a:pt x="1899083" y="894204"/>
                </a:lnTo>
                <a:lnTo>
                  <a:pt x="1932429" y="860858"/>
                </a:lnTo>
                <a:lnTo>
                  <a:pt x="1954297" y="818569"/>
                </a:lnTo>
                <a:lnTo>
                  <a:pt x="1962150" y="769874"/>
                </a:lnTo>
                <a:lnTo>
                  <a:pt x="1962150" y="154050"/>
                </a:lnTo>
                <a:lnTo>
                  <a:pt x="1954297" y="105355"/>
                </a:lnTo>
                <a:lnTo>
                  <a:pt x="1932429" y="63066"/>
                </a:lnTo>
                <a:lnTo>
                  <a:pt x="1899083" y="29720"/>
                </a:lnTo>
                <a:lnTo>
                  <a:pt x="1856794" y="7852"/>
                </a:lnTo>
                <a:lnTo>
                  <a:pt x="1808099" y="0"/>
                </a:lnTo>
                <a:close/>
              </a:path>
            </a:pathLst>
          </a:custGeom>
          <a:solidFill>
            <a:srgbClr val="F1F1F1"/>
          </a:solidFill>
          <a:ln>
            <a:solidFill>
              <a:srgbClr val="C00000"/>
            </a:solidFill>
            <a:prstDash val="dash"/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07126F6-4A78-211D-054B-3690CB667C7D}"/>
              </a:ext>
            </a:extLst>
          </p:cNvPr>
          <p:cNvSpPr txBox="1"/>
          <p:nvPr/>
        </p:nvSpPr>
        <p:spPr>
          <a:xfrm>
            <a:off x="8592315" y="4237896"/>
            <a:ext cx="108195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50">
                <a:solidFill>
                  <a:srgbClr val="C00000"/>
                </a:solidFill>
              </a:rPr>
              <a:t>Our Main Focus</a:t>
            </a:r>
          </a:p>
        </p:txBody>
      </p:sp>
      <p:sp>
        <p:nvSpPr>
          <p:cNvPr id="1198" name="TextBox 1197">
            <a:extLst>
              <a:ext uri="{FF2B5EF4-FFF2-40B4-BE49-F238E27FC236}">
                <a16:creationId xmlns:a16="http://schemas.microsoft.com/office/drawing/2014/main" id="{8C96CA4E-BDE9-05C6-2615-7CD541E6EE7E}"/>
              </a:ext>
            </a:extLst>
          </p:cNvPr>
          <p:cNvSpPr txBox="1"/>
          <p:nvPr/>
        </p:nvSpPr>
        <p:spPr>
          <a:xfrm>
            <a:off x="3636161" y="1866909"/>
            <a:ext cx="197810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>
                <a:solidFill>
                  <a:srgbClr val="C00000"/>
                </a:solidFill>
              </a:rPr>
              <a:t>2.9 </a:t>
            </a:r>
            <a:r>
              <a:rPr lang="en-IN" sz="1100" err="1">
                <a:solidFill>
                  <a:srgbClr val="C00000"/>
                </a:solidFill>
              </a:rPr>
              <a:t>mn</a:t>
            </a:r>
            <a:r>
              <a:rPr lang="en-IN" sz="1100">
                <a:solidFill>
                  <a:srgbClr val="C00000"/>
                </a:solidFill>
              </a:rPr>
              <a:t>  Millionaires</a:t>
            </a:r>
          </a:p>
          <a:p>
            <a:pPr algn="ctr"/>
            <a:r>
              <a:rPr lang="en-IN" sz="1100"/>
              <a:t>        lives in France</a:t>
            </a:r>
          </a:p>
        </p:txBody>
      </p:sp>
      <p:sp>
        <p:nvSpPr>
          <p:cNvPr id="1201" name="Rectangle 1200">
            <a:extLst>
              <a:ext uri="{FF2B5EF4-FFF2-40B4-BE49-F238E27FC236}">
                <a16:creationId xmlns:a16="http://schemas.microsoft.com/office/drawing/2014/main" id="{3C143ABD-D933-B1FE-8A87-F5212ADF1634}"/>
              </a:ext>
            </a:extLst>
          </p:cNvPr>
          <p:cNvSpPr/>
          <p:nvPr/>
        </p:nvSpPr>
        <p:spPr>
          <a:xfrm>
            <a:off x="3982983" y="2500987"/>
            <a:ext cx="2096737" cy="6758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200" name="TextBox 1199">
            <a:extLst>
              <a:ext uri="{FF2B5EF4-FFF2-40B4-BE49-F238E27FC236}">
                <a16:creationId xmlns:a16="http://schemas.microsoft.com/office/drawing/2014/main" id="{177BDCCF-EB10-A541-DE82-ACA0D4B2C1F1}"/>
              </a:ext>
            </a:extLst>
          </p:cNvPr>
          <p:cNvSpPr txBox="1"/>
          <p:nvPr/>
        </p:nvSpPr>
        <p:spPr>
          <a:xfrm>
            <a:off x="3862112" y="3188985"/>
            <a:ext cx="200876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>
                <a:solidFill>
                  <a:srgbClr val="C00000"/>
                </a:solidFill>
              </a:rPr>
              <a:t>82% </a:t>
            </a:r>
            <a:r>
              <a:rPr lang="en-IN" sz="1100"/>
              <a:t>of Parisians </a:t>
            </a:r>
            <a:r>
              <a:rPr lang="en-IN" sz="1100">
                <a:solidFill>
                  <a:srgbClr val="C00000"/>
                </a:solidFill>
              </a:rPr>
              <a:t>prefer comfort and exclusivity</a:t>
            </a:r>
            <a:r>
              <a:rPr lang="en-IN" sz="1100"/>
              <a:t> over money</a:t>
            </a:r>
          </a:p>
        </p:txBody>
      </p:sp>
      <p:sp>
        <p:nvSpPr>
          <p:cNvPr id="1197" name="TextBox 1196">
            <a:extLst>
              <a:ext uri="{FF2B5EF4-FFF2-40B4-BE49-F238E27FC236}">
                <a16:creationId xmlns:a16="http://schemas.microsoft.com/office/drawing/2014/main" id="{35815A02-1326-A9B0-781C-1D550B2D7F42}"/>
              </a:ext>
            </a:extLst>
          </p:cNvPr>
          <p:cNvSpPr txBox="1"/>
          <p:nvPr/>
        </p:nvSpPr>
        <p:spPr>
          <a:xfrm>
            <a:off x="4313790" y="2530502"/>
            <a:ext cx="197810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>
                <a:solidFill>
                  <a:srgbClr val="C00000"/>
                </a:solidFill>
              </a:rPr>
              <a:t>90% of Parisians dine out monthly</a:t>
            </a:r>
            <a:r>
              <a:rPr lang="en-IN" sz="1100">
                <a:solidFill>
                  <a:srgbClr val="C00000"/>
                </a:solidFill>
                <a:latin typeface="Bahnschrift Condensed" panose="020B0502040204020203" pitchFamily="34" charset="0"/>
              </a:rPr>
              <a:t>,</a:t>
            </a:r>
            <a:r>
              <a:rPr lang="en-IN" sz="1100">
                <a:latin typeface="Bahnschrift Condensed" panose="020B0502040204020203" pitchFamily="34" charset="0"/>
              </a:rPr>
              <a:t> </a:t>
            </a:r>
            <a:r>
              <a:rPr lang="en-IN" sz="1100"/>
              <a:t>driving demand for unique dining</a:t>
            </a:r>
          </a:p>
        </p:txBody>
      </p:sp>
      <p:sp>
        <p:nvSpPr>
          <p:cNvPr id="1203" name="Rectangle 1202">
            <a:extLst>
              <a:ext uri="{FF2B5EF4-FFF2-40B4-BE49-F238E27FC236}">
                <a16:creationId xmlns:a16="http://schemas.microsoft.com/office/drawing/2014/main" id="{C8AC6239-026F-9B48-FC39-22F8EABDEDB1}"/>
              </a:ext>
            </a:extLst>
          </p:cNvPr>
          <p:cNvSpPr/>
          <p:nvPr/>
        </p:nvSpPr>
        <p:spPr>
          <a:xfrm>
            <a:off x="4008421" y="1280903"/>
            <a:ext cx="2086381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196" name="TextBox 1195">
            <a:extLst>
              <a:ext uri="{FF2B5EF4-FFF2-40B4-BE49-F238E27FC236}">
                <a16:creationId xmlns:a16="http://schemas.microsoft.com/office/drawing/2014/main" id="{33868A42-CCAC-A746-5166-E7C2D4E7FFCA}"/>
              </a:ext>
            </a:extLst>
          </p:cNvPr>
          <p:cNvSpPr txBox="1"/>
          <p:nvPr/>
        </p:nvSpPr>
        <p:spPr>
          <a:xfrm>
            <a:off x="4331163" y="1274168"/>
            <a:ext cx="1858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/>
              <a:t>          </a:t>
            </a:r>
            <a:r>
              <a:rPr lang="en-IN" sz="1100"/>
              <a:t>France has become</a:t>
            </a:r>
          </a:p>
          <a:p>
            <a:pPr algn="ctr"/>
            <a:r>
              <a:rPr lang="en-IN" sz="1100" b="1">
                <a:latin typeface="Bahnschrift Condensed" panose="020B0502040204020203" pitchFamily="34" charset="0"/>
              </a:rPr>
              <a:t> </a:t>
            </a:r>
            <a:r>
              <a:rPr lang="en-IN" sz="1100">
                <a:solidFill>
                  <a:srgbClr val="C00000"/>
                </a:solidFill>
              </a:rPr>
              <a:t>The Hub Of Food Tourism</a:t>
            </a:r>
          </a:p>
        </p:txBody>
      </p:sp>
      <p:sp>
        <p:nvSpPr>
          <p:cNvPr id="1204" name="Rectangle 1203">
            <a:extLst>
              <a:ext uri="{FF2B5EF4-FFF2-40B4-BE49-F238E27FC236}">
                <a16:creationId xmlns:a16="http://schemas.microsoft.com/office/drawing/2014/main" id="{B31EBA35-C3C0-1CDF-0A85-6E4F8AF42C81}"/>
              </a:ext>
            </a:extLst>
          </p:cNvPr>
          <p:cNvSpPr/>
          <p:nvPr/>
        </p:nvSpPr>
        <p:spPr>
          <a:xfrm>
            <a:off x="3958297" y="934552"/>
            <a:ext cx="2155287" cy="25425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400" b="1"/>
          </a:p>
        </p:txBody>
      </p:sp>
      <p:sp>
        <p:nvSpPr>
          <p:cNvPr id="1205" name="TextBox 1204">
            <a:extLst>
              <a:ext uri="{FF2B5EF4-FFF2-40B4-BE49-F238E27FC236}">
                <a16:creationId xmlns:a16="http://schemas.microsoft.com/office/drawing/2014/main" id="{D8F8AF74-E491-A7B6-0221-D2A6312A3F60}"/>
              </a:ext>
            </a:extLst>
          </p:cNvPr>
          <p:cNvSpPr txBox="1"/>
          <p:nvPr/>
        </p:nvSpPr>
        <p:spPr>
          <a:xfrm>
            <a:off x="3958297" y="925648"/>
            <a:ext cx="21377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>
                <a:solidFill>
                  <a:schemeClr val="lt1"/>
                </a:solidFill>
              </a:rPr>
              <a:t>GROWTH DRIVERS</a:t>
            </a:r>
          </a:p>
        </p:txBody>
      </p:sp>
      <p:pic>
        <p:nvPicPr>
          <p:cNvPr id="1207" name="Picture 1206">
            <a:extLst>
              <a:ext uri="{FF2B5EF4-FFF2-40B4-BE49-F238E27FC236}">
                <a16:creationId xmlns:a16="http://schemas.microsoft.com/office/drawing/2014/main" id="{BC0C57EC-B88C-C968-2674-E69D04DF849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5670" y="1262780"/>
            <a:ext cx="496113" cy="496113"/>
          </a:xfrm>
          <a:prstGeom prst="rect">
            <a:avLst/>
          </a:prstGeom>
        </p:spPr>
      </p:pic>
      <p:pic>
        <p:nvPicPr>
          <p:cNvPr id="1209" name="Picture 1208">
            <a:extLst>
              <a:ext uri="{FF2B5EF4-FFF2-40B4-BE49-F238E27FC236}">
                <a16:creationId xmlns:a16="http://schemas.microsoft.com/office/drawing/2014/main" id="{27A4AFA3-3D8C-3F98-B784-416FEFB2077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5614" y="2688525"/>
            <a:ext cx="335799" cy="335799"/>
          </a:xfrm>
          <a:prstGeom prst="rect">
            <a:avLst/>
          </a:prstGeom>
        </p:spPr>
      </p:pic>
      <p:pic>
        <p:nvPicPr>
          <p:cNvPr id="1211" name="Picture 1210">
            <a:extLst>
              <a:ext uri="{FF2B5EF4-FFF2-40B4-BE49-F238E27FC236}">
                <a16:creationId xmlns:a16="http://schemas.microsoft.com/office/drawing/2014/main" id="{360C9183-232F-2E27-C950-8AC4140E7A1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527" y="1875550"/>
            <a:ext cx="520582" cy="473743"/>
          </a:xfrm>
          <a:prstGeom prst="rect">
            <a:avLst/>
          </a:prstGeom>
        </p:spPr>
      </p:pic>
      <p:pic>
        <p:nvPicPr>
          <p:cNvPr id="1213" name="Picture 1212">
            <a:extLst>
              <a:ext uri="{FF2B5EF4-FFF2-40B4-BE49-F238E27FC236}">
                <a16:creationId xmlns:a16="http://schemas.microsoft.com/office/drawing/2014/main" id="{D43441A0-650D-BF84-3E0D-3E551E317DD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0128" y="3268375"/>
            <a:ext cx="345199" cy="345199"/>
          </a:xfrm>
          <a:prstGeom prst="rect">
            <a:avLst/>
          </a:prstGeom>
        </p:spPr>
      </p:pic>
      <p:sp>
        <p:nvSpPr>
          <p:cNvPr id="1214" name="Rectangle 1213">
            <a:extLst>
              <a:ext uri="{FF2B5EF4-FFF2-40B4-BE49-F238E27FC236}">
                <a16:creationId xmlns:a16="http://schemas.microsoft.com/office/drawing/2014/main" id="{D51C5CEB-1B5D-6E68-6494-EFFB8375FF06}"/>
              </a:ext>
            </a:extLst>
          </p:cNvPr>
          <p:cNvSpPr/>
          <p:nvPr/>
        </p:nvSpPr>
        <p:spPr>
          <a:xfrm>
            <a:off x="6529972" y="2303146"/>
            <a:ext cx="5330283" cy="624560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F7D828B-DABB-078E-026D-A6F8ECCA83A6}"/>
              </a:ext>
            </a:extLst>
          </p:cNvPr>
          <p:cNvCxnSpPr/>
          <p:nvPr/>
        </p:nvCxnSpPr>
        <p:spPr>
          <a:xfrm>
            <a:off x="5961181" y="4327547"/>
            <a:ext cx="0" cy="205999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A8404C06-E23A-E769-9876-90B719D89FBA}"/>
              </a:ext>
            </a:extLst>
          </p:cNvPr>
          <p:cNvCxnSpPr/>
          <p:nvPr/>
        </p:nvCxnSpPr>
        <p:spPr>
          <a:xfrm>
            <a:off x="5961181" y="4327547"/>
            <a:ext cx="2377263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87271CB4-9A0F-B2C8-5ABA-8A3CD83DEE2B}"/>
              </a:ext>
            </a:extLst>
          </p:cNvPr>
          <p:cNvSpPr txBox="1"/>
          <p:nvPr/>
        </p:nvSpPr>
        <p:spPr>
          <a:xfrm>
            <a:off x="6012110" y="4111833"/>
            <a:ext cx="1231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/>
              <a:t>Least Importan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02E744E-889C-2054-FD59-28AA505D9264}"/>
              </a:ext>
            </a:extLst>
          </p:cNvPr>
          <p:cNvSpPr txBox="1"/>
          <p:nvPr/>
        </p:nvSpPr>
        <p:spPr>
          <a:xfrm>
            <a:off x="7238184" y="4114785"/>
            <a:ext cx="1231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/>
              <a:t>Most Important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8E7C450-7B38-B6DC-F294-419A4D189430}"/>
              </a:ext>
            </a:extLst>
          </p:cNvPr>
          <p:cNvSpPr/>
          <p:nvPr/>
        </p:nvSpPr>
        <p:spPr>
          <a:xfrm>
            <a:off x="6204298" y="6030193"/>
            <a:ext cx="125373" cy="130377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4DD85FB-B9C1-C6BF-71F6-D65481C57060}"/>
              </a:ext>
            </a:extLst>
          </p:cNvPr>
          <p:cNvSpPr/>
          <p:nvPr/>
        </p:nvSpPr>
        <p:spPr>
          <a:xfrm>
            <a:off x="6362677" y="5746339"/>
            <a:ext cx="125373" cy="130377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79C2814-7483-9159-4DDE-63A4DCEA1115}"/>
              </a:ext>
            </a:extLst>
          </p:cNvPr>
          <p:cNvSpPr/>
          <p:nvPr/>
        </p:nvSpPr>
        <p:spPr>
          <a:xfrm>
            <a:off x="6824694" y="5439810"/>
            <a:ext cx="125373" cy="130377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9A9EDE1-7323-DE98-E8FD-C573E5618A49}"/>
              </a:ext>
            </a:extLst>
          </p:cNvPr>
          <p:cNvSpPr/>
          <p:nvPr/>
        </p:nvSpPr>
        <p:spPr>
          <a:xfrm>
            <a:off x="7136292" y="5116446"/>
            <a:ext cx="125373" cy="130377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3B50454-4E8C-0173-B1AF-0ADB78CA82A1}"/>
              </a:ext>
            </a:extLst>
          </p:cNvPr>
          <p:cNvSpPr/>
          <p:nvPr/>
        </p:nvSpPr>
        <p:spPr>
          <a:xfrm>
            <a:off x="4890932" y="4457788"/>
            <a:ext cx="3293683" cy="5173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EB67094-8A70-28B6-E196-70B5CFDE2EEC}"/>
              </a:ext>
            </a:extLst>
          </p:cNvPr>
          <p:cNvSpPr txBox="1"/>
          <p:nvPr/>
        </p:nvSpPr>
        <p:spPr>
          <a:xfrm>
            <a:off x="4804471" y="4438820"/>
            <a:ext cx="1272178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/>
              <a:t>           Food quality</a:t>
            </a:r>
          </a:p>
          <a:p>
            <a:pPr algn="ctr"/>
            <a:endParaRPr lang="en-IN" sz="1000"/>
          </a:p>
          <a:p>
            <a:pPr algn="ctr"/>
            <a:r>
              <a:rPr lang="en-IN" sz="1000"/>
              <a:t>Employee’s Service</a:t>
            </a:r>
          </a:p>
          <a:p>
            <a:pPr algn="ctr"/>
            <a:endParaRPr lang="en-IN" sz="1000"/>
          </a:p>
          <a:p>
            <a:pPr algn="ctr"/>
            <a:r>
              <a:rPr lang="en-IN" sz="1000"/>
              <a:t>                   Menus</a:t>
            </a:r>
          </a:p>
          <a:p>
            <a:pPr algn="ctr"/>
            <a:endParaRPr lang="en-IN" sz="1000"/>
          </a:p>
          <a:p>
            <a:pPr algn="ctr"/>
            <a:r>
              <a:rPr lang="en-IN" sz="1000"/>
              <a:t>    Order Accuracy</a:t>
            </a:r>
          </a:p>
          <a:p>
            <a:pPr algn="ctr"/>
            <a:endParaRPr lang="en-IN" sz="1000"/>
          </a:p>
          <a:p>
            <a:pPr algn="ctr"/>
            <a:r>
              <a:rPr lang="en-IN" sz="1000"/>
              <a:t>     Discount Offers</a:t>
            </a:r>
          </a:p>
          <a:p>
            <a:pPr algn="ctr"/>
            <a:endParaRPr lang="en-IN" sz="1000"/>
          </a:p>
          <a:p>
            <a:pPr algn="ctr"/>
            <a:r>
              <a:rPr lang="en-IN" sz="1000"/>
              <a:t>                       Speed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3E88023C-6BA1-FE1C-ADDF-D5A92A4B4461}"/>
              </a:ext>
            </a:extLst>
          </p:cNvPr>
          <p:cNvSpPr/>
          <p:nvPr/>
        </p:nvSpPr>
        <p:spPr>
          <a:xfrm>
            <a:off x="7924657" y="4479816"/>
            <a:ext cx="125373" cy="130377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97B84015-CF94-CB52-A476-2B5A9A9A5379}"/>
              </a:ext>
            </a:extLst>
          </p:cNvPr>
          <p:cNvSpPr/>
          <p:nvPr/>
        </p:nvSpPr>
        <p:spPr>
          <a:xfrm>
            <a:off x="7651081" y="4791832"/>
            <a:ext cx="125373" cy="130377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8FD6E9C-9E9C-EC63-8E44-A42B3CC96E7A}"/>
              </a:ext>
            </a:extLst>
          </p:cNvPr>
          <p:cNvSpPr/>
          <p:nvPr/>
        </p:nvSpPr>
        <p:spPr>
          <a:xfrm>
            <a:off x="3636160" y="3805398"/>
            <a:ext cx="4716697" cy="24486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CONSUMER PREFERENCES </a:t>
            </a:r>
            <a:endParaRPr lang="en-IN" sz="1400" b="1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DEB17336-F80E-9AC6-F455-FE4E4EE7EB13}"/>
              </a:ext>
            </a:extLst>
          </p:cNvPr>
          <p:cNvCxnSpPr/>
          <p:nvPr/>
        </p:nvCxnSpPr>
        <p:spPr>
          <a:xfrm flipH="1">
            <a:off x="4826759" y="4956432"/>
            <a:ext cx="122663" cy="620665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2CE07BA8-8314-8EE7-B791-7717AC2BB2EF}"/>
              </a:ext>
            </a:extLst>
          </p:cNvPr>
          <p:cNvSpPr/>
          <p:nvPr/>
        </p:nvSpPr>
        <p:spPr>
          <a:xfrm>
            <a:off x="3722388" y="5795696"/>
            <a:ext cx="1418325" cy="50987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6552775-D0F2-1FB2-9296-39BF85F71076}"/>
              </a:ext>
            </a:extLst>
          </p:cNvPr>
          <p:cNvSpPr txBox="1"/>
          <p:nvPr/>
        </p:nvSpPr>
        <p:spPr>
          <a:xfrm>
            <a:off x="3596906" y="5802282"/>
            <a:ext cx="165450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/>
              <a:t>Willing to pay more when getting</a:t>
            </a:r>
            <a:r>
              <a:rPr lang="en-IN" sz="1000">
                <a:solidFill>
                  <a:srgbClr val="FF0000"/>
                </a:solidFill>
              </a:rPr>
              <a:t> good Food Quality and Service</a:t>
            </a:r>
          </a:p>
        </p:txBody>
      </p:sp>
      <p:sp>
        <p:nvSpPr>
          <p:cNvPr id="56" name="Frame 55">
            <a:extLst>
              <a:ext uri="{FF2B5EF4-FFF2-40B4-BE49-F238E27FC236}">
                <a16:creationId xmlns:a16="http://schemas.microsoft.com/office/drawing/2014/main" id="{AB0109CC-1BD0-8BCC-EFE5-C0EE74D2EAD2}"/>
              </a:ext>
            </a:extLst>
          </p:cNvPr>
          <p:cNvSpPr/>
          <p:nvPr/>
        </p:nvSpPr>
        <p:spPr>
          <a:xfrm>
            <a:off x="3656643" y="4308679"/>
            <a:ext cx="1098465" cy="1038366"/>
          </a:xfrm>
          <a:prstGeom prst="fram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A857A18-4DF7-16FB-A974-1E3031B6EB1A}"/>
              </a:ext>
            </a:extLst>
          </p:cNvPr>
          <p:cNvSpPr txBox="1"/>
          <p:nvPr/>
        </p:nvSpPr>
        <p:spPr>
          <a:xfrm>
            <a:off x="3538295" y="4419124"/>
            <a:ext cx="1328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b="1">
                <a:solidFill>
                  <a:srgbClr val="C00000"/>
                </a:solidFill>
              </a:rPr>
              <a:t>Consumer Pr</a:t>
            </a:r>
            <a:r>
              <a:rPr lang="en-IN" sz="1200" b="1"/>
              <a:t>eferences</a:t>
            </a:r>
          </a:p>
          <a:p>
            <a:pPr algn="ctr"/>
            <a:r>
              <a:rPr lang="en-IN" sz="1200" b="1"/>
              <a:t>  Ou</a:t>
            </a:r>
            <a:r>
              <a:rPr lang="en-IN" sz="1200" b="1">
                <a:solidFill>
                  <a:srgbClr val="C00000"/>
                </a:solidFill>
              </a:rPr>
              <a:t>r </a:t>
            </a:r>
          </a:p>
          <a:p>
            <a:pPr algn="ctr"/>
            <a:r>
              <a:rPr lang="en-IN" sz="1200" b="1">
                <a:solidFill>
                  <a:srgbClr val="C00000"/>
                </a:solidFill>
              </a:rPr>
              <a:t>Canva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EEA0439-036D-92D4-E259-0C144FCDAB35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7041A5EA-579C-BC57-18DD-C3B8E6AA1EC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9749" y="211373"/>
            <a:ext cx="601441" cy="566062"/>
          </a:xfrm>
          <a:prstGeom prst="rect">
            <a:avLst/>
          </a:prstGeom>
        </p:spPr>
      </p:pic>
      <p:sp>
        <p:nvSpPr>
          <p:cNvPr id="2" name="object 81">
            <a:extLst>
              <a:ext uri="{FF2B5EF4-FFF2-40B4-BE49-F238E27FC236}">
                <a16:creationId xmlns:a16="http://schemas.microsoft.com/office/drawing/2014/main" id="{9A9DEB62-FAE3-216C-8995-B0C5D391DCD8}"/>
              </a:ext>
            </a:extLst>
          </p:cNvPr>
          <p:cNvSpPr txBox="1">
            <a:spLocks/>
          </p:cNvSpPr>
          <p:nvPr/>
        </p:nvSpPr>
        <p:spPr>
          <a:xfrm>
            <a:off x="11732386" y="650354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US" spc="-50"/>
              <a:t>2</a:t>
            </a:r>
            <a:endParaRPr lang="en-IN" spc="-5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43EA527-98A0-2B62-AE4D-BF9B0600D249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85FDD68-3868-8850-9DCD-F1B59D610239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639D50B-6874-C967-ED27-35070577ED45}"/>
              </a:ext>
            </a:extLst>
          </p:cNvPr>
          <p:cNvSpPr/>
          <p:nvPr/>
        </p:nvSpPr>
        <p:spPr>
          <a:xfrm>
            <a:off x="0" y="6551125"/>
            <a:ext cx="12192000" cy="5027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3" name="object 2">
            <a:extLst>
              <a:ext uri="{FF2B5EF4-FFF2-40B4-BE49-F238E27FC236}">
                <a16:creationId xmlns:a16="http://schemas.microsoft.com/office/drawing/2014/main" id="{D91BA8C9-B775-5EB8-BBB0-996A3D0C7DED}"/>
              </a:ext>
            </a:extLst>
          </p:cNvPr>
          <p:cNvSpPr/>
          <p:nvPr/>
        </p:nvSpPr>
        <p:spPr>
          <a:xfrm>
            <a:off x="8295594" y="6385872"/>
            <a:ext cx="1393787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BEAE0241-4DBB-7820-40C5-A30B297861E7}"/>
              </a:ext>
            </a:extLst>
          </p:cNvPr>
          <p:cNvSpPr/>
          <p:nvPr/>
        </p:nvSpPr>
        <p:spPr>
          <a:xfrm>
            <a:off x="0" y="6368551"/>
            <a:ext cx="12192000" cy="5227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5" name="object 81">
            <a:extLst>
              <a:ext uri="{FF2B5EF4-FFF2-40B4-BE49-F238E27FC236}">
                <a16:creationId xmlns:a16="http://schemas.microsoft.com/office/drawing/2014/main" id="{73B54A54-EFE2-1D1D-9F99-BE0A84B7DB69}"/>
              </a:ext>
            </a:extLst>
          </p:cNvPr>
          <p:cNvSpPr txBox="1">
            <a:spLocks/>
          </p:cNvSpPr>
          <p:nvPr/>
        </p:nvSpPr>
        <p:spPr>
          <a:xfrm>
            <a:off x="11732386" y="650354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US" spc="-50"/>
              <a:t>1</a:t>
            </a:r>
            <a:endParaRPr lang="en-IN" spc="-5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7D84A8C8-54FD-BDAD-458F-C7AE1F819E3E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7" name="object 2">
            <a:extLst>
              <a:ext uri="{FF2B5EF4-FFF2-40B4-BE49-F238E27FC236}">
                <a16:creationId xmlns:a16="http://schemas.microsoft.com/office/drawing/2014/main" id="{DB025605-2C02-A831-7BCB-5939546305EC}"/>
              </a:ext>
            </a:extLst>
          </p:cNvPr>
          <p:cNvSpPr/>
          <p:nvPr/>
        </p:nvSpPr>
        <p:spPr>
          <a:xfrm>
            <a:off x="513427" y="6391968"/>
            <a:ext cx="1151890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942EFED-449E-8910-DA07-7FE9652145A3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91D241B7-BB1C-8B9B-DFF3-7DBD407641F2}"/>
              </a:ext>
            </a:extLst>
          </p:cNvPr>
          <p:cNvSpPr txBox="1"/>
          <p:nvPr/>
        </p:nvSpPr>
        <p:spPr>
          <a:xfrm>
            <a:off x="397092" y="6441627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C00000"/>
                </a:solidFill>
              </a:rPr>
              <a:t>Market Research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15A2C05-9C89-DB95-051A-B85C347A66F5}"/>
              </a:ext>
            </a:extLst>
          </p:cNvPr>
          <p:cNvSpPr txBox="1"/>
          <p:nvPr/>
        </p:nvSpPr>
        <p:spPr>
          <a:xfrm>
            <a:off x="2067459" y="6441730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Entry Strategy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6513B898-A922-4446-6103-9140445A39F5}"/>
              </a:ext>
            </a:extLst>
          </p:cNvPr>
          <p:cNvSpPr txBox="1"/>
          <p:nvPr/>
        </p:nvSpPr>
        <p:spPr>
          <a:xfrm>
            <a:off x="4141781" y="6452763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Customer Value Proposition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CFDF4C5-D688-A463-8AC6-8F12C3EEEF5C}"/>
              </a:ext>
            </a:extLst>
          </p:cNvPr>
          <p:cNvSpPr txBox="1"/>
          <p:nvPr/>
        </p:nvSpPr>
        <p:spPr>
          <a:xfrm>
            <a:off x="6623801" y="6460634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ing &amp; Promotion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F8B9C09-7D9C-F1FE-509F-41C9F1CB742A}"/>
              </a:ext>
            </a:extLst>
          </p:cNvPr>
          <p:cNvSpPr txBox="1"/>
          <p:nvPr/>
        </p:nvSpPr>
        <p:spPr>
          <a:xfrm>
            <a:off x="8689690" y="6466465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Size &amp; Timelin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89ECB6D-CC9C-5F08-1955-1B7A3EB2EEA1}"/>
              </a:ext>
            </a:extLst>
          </p:cNvPr>
          <p:cNvSpPr txBox="1"/>
          <p:nvPr/>
        </p:nvSpPr>
        <p:spPr>
          <a:xfrm>
            <a:off x="10293355" y="6452246"/>
            <a:ext cx="1239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Appendix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8E6F7403-7215-11A7-13C8-2F28E52C604C}"/>
              </a:ext>
            </a:extLst>
          </p:cNvPr>
          <p:cNvCxnSpPr>
            <a:cxnSpLocks/>
          </p:cNvCxnSpPr>
          <p:nvPr/>
        </p:nvCxnSpPr>
        <p:spPr>
          <a:xfrm>
            <a:off x="109205" y="6393717"/>
            <a:ext cx="1192396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object 42">
            <a:extLst>
              <a:ext uri="{FF2B5EF4-FFF2-40B4-BE49-F238E27FC236}">
                <a16:creationId xmlns:a16="http://schemas.microsoft.com/office/drawing/2014/main" id="{A122F84B-8942-3822-6362-AFAEDEFBDC7E}"/>
              </a:ext>
            </a:extLst>
          </p:cNvPr>
          <p:cNvSpPr txBox="1"/>
          <p:nvPr/>
        </p:nvSpPr>
        <p:spPr>
          <a:xfrm>
            <a:off x="1907561" y="3147482"/>
            <a:ext cx="996882" cy="290977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81280" algn="ctr">
              <a:lnSpc>
                <a:spcPts val="2520"/>
              </a:lnSpc>
              <a:spcBef>
                <a:spcPts val="130"/>
              </a:spcBef>
            </a:pPr>
            <a:r>
              <a:rPr lang="en-IN" sz="900" b="1">
                <a:solidFill>
                  <a:srgbClr val="C00000"/>
                </a:solidFill>
                <a:cs typeface="Carlito"/>
              </a:rPr>
              <a:t>$77.28 Bn</a:t>
            </a:r>
            <a:endParaRPr lang="en-IN" sz="900">
              <a:solidFill>
                <a:srgbClr val="C00000"/>
              </a:solidFill>
              <a:cs typeface="Carlito"/>
            </a:endParaRPr>
          </a:p>
        </p:txBody>
      </p:sp>
      <p:sp>
        <p:nvSpPr>
          <p:cNvPr id="93" name="object 42">
            <a:extLst>
              <a:ext uri="{FF2B5EF4-FFF2-40B4-BE49-F238E27FC236}">
                <a16:creationId xmlns:a16="http://schemas.microsoft.com/office/drawing/2014/main" id="{BB2A9C55-7B69-0750-E028-FDFFD73AF356}"/>
              </a:ext>
            </a:extLst>
          </p:cNvPr>
          <p:cNvSpPr txBox="1"/>
          <p:nvPr/>
        </p:nvSpPr>
        <p:spPr>
          <a:xfrm>
            <a:off x="2625363" y="3158156"/>
            <a:ext cx="996882" cy="290977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81280" algn="ctr">
              <a:lnSpc>
                <a:spcPts val="2520"/>
              </a:lnSpc>
              <a:spcBef>
                <a:spcPts val="130"/>
              </a:spcBef>
            </a:pPr>
            <a:r>
              <a:rPr lang="en-IN" sz="900" b="1">
                <a:solidFill>
                  <a:srgbClr val="C00000"/>
                </a:solidFill>
                <a:cs typeface="Carlito"/>
              </a:rPr>
              <a:t>104.08 Bn</a:t>
            </a:r>
            <a:endParaRPr lang="en-IN" sz="900">
              <a:solidFill>
                <a:srgbClr val="C00000"/>
              </a:solidFill>
              <a:cs typeface="Carlito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7A61768-78F7-ACA7-4499-319AC6910262}"/>
              </a:ext>
            </a:extLst>
          </p:cNvPr>
          <p:cNvCxnSpPr>
            <a:cxnSpLocks/>
          </p:cNvCxnSpPr>
          <p:nvPr/>
        </p:nvCxnSpPr>
        <p:spPr>
          <a:xfrm>
            <a:off x="3868634" y="919709"/>
            <a:ext cx="0" cy="2835945"/>
          </a:xfrm>
          <a:prstGeom prst="line">
            <a:avLst/>
          </a:prstGeom>
          <a:ln w="12192">
            <a:solidFill>
              <a:schemeClr val="bg1">
                <a:lumMod val="65000"/>
              </a:schemeClr>
            </a:solidFill>
            <a:prstDash val="lgDash"/>
          </a:ln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87DEA83-EF8F-E2B6-EC8A-BC32EE541541}"/>
              </a:ext>
            </a:extLst>
          </p:cNvPr>
          <p:cNvCxnSpPr>
            <a:cxnSpLocks/>
          </p:cNvCxnSpPr>
          <p:nvPr/>
        </p:nvCxnSpPr>
        <p:spPr>
          <a:xfrm>
            <a:off x="6185114" y="929869"/>
            <a:ext cx="0" cy="2835945"/>
          </a:xfrm>
          <a:prstGeom prst="line">
            <a:avLst/>
          </a:prstGeom>
          <a:ln w="12192">
            <a:solidFill>
              <a:schemeClr val="bg1">
                <a:lumMod val="65000"/>
              </a:schemeClr>
            </a:solidFill>
            <a:prstDash val="lgDash"/>
          </a:ln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309E192-3267-37DA-AECD-DA8EC97834FC}"/>
              </a:ext>
            </a:extLst>
          </p:cNvPr>
          <p:cNvCxnSpPr>
            <a:cxnSpLocks/>
          </p:cNvCxnSpPr>
          <p:nvPr/>
        </p:nvCxnSpPr>
        <p:spPr>
          <a:xfrm flipH="1">
            <a:off x="104153" y="3756872"/>
            <a:ext cx="11929548" cy="0"/>
          </a:xfrm>
          <a:prstGeom prst="line">
            <a:avLst/>
          </a:prstGeom>
          <a:ln w="12192">
            <a:solidFill>
              <a:schemeClr val="bg1">
                <a:lumMod val="65000"/>
              </a:schemeClr>
            </a:solidFill>
            <a:prstDash val="lgDash"/>
          </a:ln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4869FDED-C463-E37C-404D-509E37DE07D7}"/>
              </a:ext>
            </a:extLst>
          </p:cNvPr>
          <p:cNvCxnSpPr>
            <a:cxnSpLocks/>
          </p:cNvCxnSpPr>
          <p:nvPr/>
        </p:nvCxnSpPr>
        <p:spPr>
          <a:xfrm>
            <a:off x="3546818" y="3759410"/>
            <a:ext cx="0" cy="2616302"/>
          </a:xfrm>
          <a:prstGeom prst="line">
            <a:avLst/>
          </a:prstGeom>
          <a:ln w="12192">
            <a:solidFill>
              <a:schemeClr val="bg1">
                <a:lumMod val="65000"/>
              </a:schemeClr>
            </a:solidFill>
            <a:prstDash val="lgDash"/>
          </a:ln>
        </p:spPr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489F2A92-AFA3-0FDB-DFE9-37241869F37D}"/>
              </a:ext>
            </a:extLst>
          </p:cNvPr>
          <p:cNvSpPr/>
          <p:nvPr/>
        </p:nvSpPr>
        <p:spPr>
          <a:xfrm>
            <a:off x="2873754" y="4544594"/>
            <a:ext cx="307540" cy="29689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0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6452C9F-1D8A-92F1-D694-C7C8C31AE66C}"/>
              </a:ext>
            </a:extLst>
          </p:cNvPr>
          <p:cNvSpPr txBox="1"/>
          <p:nvPr/>
        </p:nvSpPr>
        <p:spPr>
          <a:xfrm>
            <a:off x="3112708" y="4584412"/>
            <a:ext cx="914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6.6%</a:t>
            </a:r>
            <a:endParaRPr lang="en-IN" sz="800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85459945-480D-1C5E-FE10-7266FAA8B8DA}"/>
              </a:ext>
            </a:extLst>
          </p:cNvPr>
          <p:cNvSpPr/>
          <p:nvPr/>
        </p:nvSpPr>
        <p:spPr>
          <a:xfrm>
            <a:off x="2968575" y="5140779"/>
            <a:ext cx="68288" cy="6861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0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372CC14-315E-8AC9-B992-5B00A57EB9DB}"/>
              </a:ext>
            </a:extLst>
          </p:cNvPr>
          <p:cNvSpPr txBox="1"/>
          <p:nvPr/>
        </p:nvSpPr>
        <p:spPr>
          <a:xfrm>
            <a:off x="3107585" y="5062599"/>
            <a:ext cx="914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0.4%</a:t>
            </a:r>
            <a:endParaRPr lang="en-IN" sz="800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2D9D846C-3405-3BE7-0969-570B06D7B0F6}"/>
              </a:ext>
            </a:extLst>
          </p:cNvPr>
          <p:cNvSpPr/>
          <p:nvPr/>
        </p:nvSpPr>
        <p:spPr>
          <a:xfrm>
            <a:off x="2881841" y="5454257"/>
            <a:ext cx="253176" cy="278822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0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B595C882-2E57-7C82-8F98-BA7C572D9E48}"/>
              </a:ext>
            </a:extLst>
          </p:cNvPr>
          <p:cNvSpPr txBox="1"/>
          <p:nvPr/>
        </p:nvSpPr>
        <p:spPr>
          <a:xfrm>
            <a:off x="3094067" y="5482312"/>
            <a:ext cx="914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4.2%</a:t>
            </a:r>
            <a:endParaRPr lang="en-IN" sz="800"/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211B1370-12FD-DA98-EB1E-83BAF0AF6791}"/>
              </a:ext>
            </a:extLst>
          </p:cNvPr>
          <p:cNvSpPr/>
          <p:nvPr/>
        </p:nvSpPr>
        <p:spPr>
          <a:xfrm>
            <a:off x="2899905" y="5923016"/>
            <a:ext cx="203364" cy="18305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0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55067931-E5FF-59F4-DC41-B25495F47703}"/>
              </a:ext>
            </a:extLst>
          </p:cNvPr>
          <p:cNvSpPr txBox="1"/>
          <p:nvPr/>
        </p:nvSpPr>
        <p:spPr>
          <a:xfrm>
            <a:off x="3094067" y="5924272"/>
            <a:ext cx="914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2.3%</a:t>
            </a:r>
            <a:endParaRPr lang="en-IN" sz="800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23923DD2-376F-27F4-556B-BBA5C7539189}"/>
              </a:ext>
            </a:extLst>
          </p:cNvPr>
          <p:cNvSpPr/>
          <p:nvPr/>
        </p:nvSpPr>
        <p:spPr>
          <a:xfrm>
            <a:off x="1876285" y="6178204"/>
            <a:ext cx="116495" cy="88599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00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1A7A699E-2B63-4700-05DC-1BB3AEC24F5D}"/>
              </a:ext>
            </a:extLst>
          </p:cNvPr>
          <p:cNvSpPr txBox="1"/>
          <p:nvPr/>
        </p:nvSpPr>
        <p:spPr>
          <a:xfrm>
            <a:off x="1953017" y="6107900"/>
            <a:ext cx="14822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/>
              <a:t>Share of Population in 2023</a:t>
            </a:r>
            <a:endParaRPr lang="en-IN" sz="900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6B41C768-F9D8-E16B-37A6-B158069EE028}"/>
              </a:ext>
            </a:extLst>
          </p:cNvPr>
          <p:cNvSpPr txBox="1"/>
          <p:nvPr/>
        </p:nvSpPr>
        <p:spPr>
          <a:xfrm>
            <a:off x="330799" y="4259580"/>
            <a:ext cx="3140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solidFill>
                  <a:schemeClr val="tx1">
                    <a:lumMod val="50000"/>
                    <a:lumOff val="50000"/>
                  </a:schemeClr>
                </a:solidFill>
              </a:rPr>
              <a:t>Number of dollar millionaire (in millions) in selected countries in 2000, 2023 and 2028</a:t>
            </a:r>
            <a:endParaRPr lang="en-IN" sz="9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DF3E6A5-757E-5912-2A68-B7E0C31EC961}"/>
              </a:ext>
            </a:extLst>
          </p:cNvPr>
          <p:cNvSpPr/>
          <p:nvPr/>
        </p:nvSpPr>
        <p:spPr>
          <a:xfrm>
            <a:off x="233929" y="4115459"/>
            <a:ext cx="147014" cy="45854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A993D801-DC9D-5B07-E4E6-2B03D56650EC}"/>
              </a:ext>
            </a:extLst>
          </p:cNvPr>
          <p:cNvCxnSpPr>
            <a:cxnSpLocks/>
          </p:cNvCxnSpPr>
          <p:nvPr/>
        </p:nvCxnSpPr>
        <p:spPr>
          <a:xfrm>
            <a:off x="16436" y="30410"/>
            <a:ext cx="0" cy="688115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2E303607-F65F-AC1E-9FE1-CABC6D30E18B}"/>
              </a:ext>
            </a:extLst>
          </p:cNvPr>
          <p:cNvCxnSpPr>
            <a:cxnSpLocks/>
          </p:cNvCxnSpPr>
          <p:nvPr/>
        </p:nvCxnSpPr>
        <p:spPr>
          <a:xfrm>
            <a:off x="12171651" y="0"/>
            <a:ext cx="0" cy="6932826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0396D5F5-7B80-A4AA-7F9D-FAB29CB0E8AD}"/>
              </a:ext>
            </a:extLst>
          </p:cNvPr>
          <p:cNvCxnSpPr>
            <a:cxnSpLocks/>
          </p:cNvCxnSpPr>
          <p:nvPr/>
        </p:nvCxnSpPr>
        <p:spPr>
          <a:xfrm flipH="1">
            <a:off x="11109" y="6841021"/>
            <a:ext cx="1216054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4198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32F111-7C58-CDB5-DE60-F6B21B413F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" descr="A Map of the Top Tourist Sites in Paris | Official website for tourism ...">
            <a:extLst>
              <a:ext uri="{FF2B5EF4-FFF2-40B4-BE49-F238E27FC236}">
                <a16:creationId xmlns:a16="http://schemas.microsoft.com/office/drawing/2014/main" id="{1E7C691A-8F5E-237E-034A-BDE39F04CB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9159" y="3702608"/>
            <a:ext cx="2897576" cy="2225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" name="Rectangle 95">
            <a:extLst>
              <a:ext uri="{FF2B5EF4-FFF2-40B4-BE49-F238E27FC236}">
                <a16:creationId xmlns:a16="http://schemas.microsoft.com/office/drawing/2014/main" id="{C1ABE1D4-8747-483F-152B-8B7B7F99218D}"/>
              </a:ext>
            </a:extLst>
          </p:cNvPr>
          <p:cNvSpPr/>
          <p:nvPr/>
        </p:nvSpPr>
        <p:spPr>
          <a:xfrm>
            <a:off x="7143709" y="5366060"/>
            <a:ext cx="2344749" cy="981497"/>
          </a:xfrm>
          <a:prstGeom prst="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b="1">
                <a:solidFill>
                  <a:schemeClr val="tx1"/>
                </a:solidFill>
              </a:rPr>
              <a:t>Music: </a:t>
            </a:r>
            <a:r>
              <a:rPr lang="en-US" sz="1050">
                <a:solidFill>
                  <a:schemeClr val="tx1"/>
                </a:solidFill>
              </a:rPr>
              <a:t>Soft</a:t>
            </a:r>
            <a:r>
              <a:rPr lang="en-US" sz="1050" i="1">
                <a:solidFill>
                  <a:schemeClr val="bg2">
                    <a:lumMod val="50000"/>
                  </a:schemeClr>
                </a:solidFill>
              </a:rPr>
              <a:t>, live classical performances </a:t>
            </a:r>
            <a:r>
              <a:rPr lang="en-US" sz="1050">
                <a:solidFill>
                  <a:schemeClr val="tx1"/>
                </a:solidFill>
              </a:rPr>
              <a:t>such as piano or violin on select evenings. </a:t>
            </a:r>
            <a:r>
              <a:rPr lang="en-US" sz="1050" b="1">
                <a:solidFill>
                  <a:schemeClr val="tx1"/>
                </a:solidFill>
              </a:rPr>
              <a:t>Lighting:</a:t>
            </a:r>
            <a:r>
              <a:rPr lang="en-US" sz="1050" i="1">
                <a:solidFill>
                  <a:schemeClr val="bg2">
                    <a:lumMod val="50000"/>
                  </a:schemeClr>
                </a:solidFill>
              </a:rPr>
              <a:t> Subtle, warm lighting </a:t>
            </a:r>
            <a:r>
              <a:rPr lang="en-US" sz="1050">
                <a:solidFill>
                  <a:schemeClr val="tx1"/>
                </a:solidFill>
              </a:rPr>
              <a:t>to create an intimate and sophisticated atmosphere.</a:t>
            </a:r>
            <a:endParaRPr lang="en-IN" sz="1050">
              <a:solidFill>
                <a:schemeClr val="tx1"/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8B76FCCB-EE23-413E-EA97-6C0B83FF60BF}"/>
              </a:ext>
            </a:extLst>
          </p:cNvPr>
          <p:cNvSpPr/>
          <p:nvPr/>
        </p:nvSpPr>
        <p:spPr>
          <a:xfrm>
            <a:off x="9687042" y="5366060"/>
            <a:ext cx="2344749" cy="981497"/>
          </a:xfrm>
          <a:prstGeom prst="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>
                <a:solidFill>
                  <a:schemeClr val="tx1"/>
                </a:solidFill>
              </a:rPr>
              <a:t>Inspired by </a:t>
            </a:r>
            <a:r>
              <a:rPr lang="en-US" sz="1050" i="1">
                <a:solidFill>
                  <a:schemeClr val="bg2">
                    <a:lumMod val="50000"/>
                  </a:schemeClr>
                </a:solidFill>
              </a:rPr>
              <a:t>18th-century French salons</a:t>
            </a:r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, </a:t>
            </a:r>
            <a:r>
              <a:rPr lang="en-US" sz="1050">
                <a:solidFill>
                  <a:schemeClr val="tx1"/>
                </a:solidFill>
              </a:rPr>
              <a:t>featuring </a:t>
            </a:r>
            <a:r>
              <a:rPr lang="en-US" sz="1050" i="1">
                <a:solidFill>
                  <a:schemeClr val="bg2">
                    <a:lumMod val="50000"/>
                  </a:schemeClr>
                </a:solidFill>
              </a:rPr>
              <a:t>vintage chandeliers</a:t>
            </a:r>
            <a:r>
              <a:rPr lang="en-US" sz="1050">
                <a:solidFill>
                  <a:schemeClr val="tx1"/>
                </a:solidFill>
              </a:rPr>
              <a:t>, fine marble, and </a:t>
            </a:r>
            <a:r>
              <a:rPr lang="en-US" sz="1050" i="1">
                <a:solidFill>
                  <a:schemeClr val="bg2">
                    <a:lumMod val="50000"/>
                  </a:schemeClr>
                </a:solidFill>
              </a:rPr>
              <a:t>plush velvet seating.</a:t>
            </a:r>
          </a:p>
          <a:p>
            <a:pPr algn="ctr"/>
            <a:r>
              <a:rPr lang="en-US" sz="1050" i="1">
                <a:solidFill>
                  <a:schemeClr val="bg2">
                    <a:lumMod val="50000"/>
                  </a:schemeClr>
                </a:solidFill>
              </a:rPr>
              <a:t>Use of neutral tones </a:t>
            </a:r>
            <a:r>
              <a:rPr lang="en-US" sz="1050">
                <a:solidFill>
                  <a:schemeClr val="tx1"/>
                </a:solidFill>
              </a:rPr>
              <a:t>with </a:t>
            </a:r>
            <a:r>
              <a:rPr lang="en-US" sz="1050">
                <a:solidFill>
                  <a:schemeClr val="accent4">
                    <a:lumMod val="75000"/>
                  </a:schemeClr>
                </a:solidFill>
              </a:rPr>
              <a:t>gold</a:t>
            </a:r>
            <a:r>
              <a:rPr lang="en-US" sz="1050">
                <a:solidFill>
                  <a:schemeClr val="tx1"/>
                </a:solidFill>
              </a:rPr>
              <a:t> and </a:t>
            </a:r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silver</a:t>
            </a:r>
            <a:r>
              <a:rPr lang="en-US" sz="1050">
                <a:solidFill>
                  <a:schemeClr val="tx1"/>
                </a:solidFill>
              </a:rPr>
              <a:t> accents to reflect timeless luxury.</a:t>
            </a:r>
            <a:endParaRPr lang="en-IN" sz="105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7EA13E5-9A31-4F8B-32BC-5A7E6ED4CBC5}"/>
              </a:ext>
            </a:extLst>
          </p:cNvPr>
          <p:cNvSpPr/>
          <p:nvPr/>
        </p:nvSpPr>
        <p:spPr>
          <a:xfrm>
            <a:off x="4326622" y="1211778"/>
            <a:ext cx="3926128" cy="21918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EAD09E9-B408-289C-F8A9-616C5F16FC09}"/>
              </a:ext>
            </a:extLst>
          </p:cNvPr>
          <p:cNvSpPr/>
          <p:nvPr/>
        </p:nvSpPr>
        <p:spPr>
          <a:xfrm>
            <a:off x="104154" y="1189361"/>
            <a:ext cx="4004856" cy="707886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hef Remy</a:t>
            </a:r>
            <a:r>
              <a:rPr lang="en-IN" sz="1200">
                <a:solidFill>
                  <a:schemeClr val="tx1"/>
                </a:solidFill>
              </a:rPr>
              <a:t>(rat),</a:t>
            </a:r>
            <a:r>
              <a:rPr lang="en-US" sz="1200">
                <a:solidFill>
                  <a:schemeClr val="tx1"/>
                </a:solidFill>
              </a:rPr>
              <a:t> is an extraordinary culinary prodigy with an unique journey that defies conventions. He has honed his skills through determination and an innate passion for gastronomy</a:t>
            </a:r>
            <a:endParaRPr lang="en-IN" sz="1200">
              <a:solidFill>
                <a:schemeClr val="tx1"/>
              </a:solidFill>
            </a:endParaRPr>
          </a:p>
        </p:txBody>
      </p:sp>
      <p:sp>
        <p:nvSpPr>
          <p:cNvPr id="145" name="object 65">
            <a:extLst>
              <a:ext uri="{FF2B5EF4-FFF2-40B4-BE49-F238E27FC236}">
                <a16:creationId xmlns:a16="http://schemas.microsoft.com/office/drawing/2014/main" id="{EE4CAABF-EE46-58E3-DB80-8C0DEAD632A8}"/>
              </a:ext>
            </a:extLst>
          </p:cNvPr>
          <p:cNvSpPr txBox="1"/>
          <p:nvPr/>
        </p:nvSpPr>
        <p:spPr>
          <a:xfrm>
            <a:off x="88899" y="88867"/>
            <a:ext cx="10254993" cy="707886"/>
          </a:xfrm>
          <a:prstGeom prst="rect">
            <a:avLst/>
          </a:prstGeom>
        </p:spPr>
        <p:txBody>
          <a:bodyPr vert="horz" wrap="square" lIns="0" tIns="68580" rIns="0" bIns="0" rtlCol="0" anchor="t">
            <a:spAutoFit/>
          </a:bodyPr>
          <a:lstStyle/>
          <a:p>
            <a:pPr marL="12700">
              <a:lnSpc>
                <a:spcPct val="100000"/>
              </a:lnSpc>
              <a:spcBef>
                <a:spcPts val="540"/>
              </a:spcBef>
            </a:pPr>
            <a:r>
              <a:rPr lang="en-US" sz="2300" b="1">
                <a:latin typeface="Calibri"/>
                <a:cs typeface="Calibri"/>
              </a:rPr>
              <a:t>MARKET ENTRY STRATEGY</a:t>
            </a:r>
            <a:endParaRPr sz="23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r>
              <a:rPr lang="en-IN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How can </a:t>
            </a:r>
            <a:r>
              <a:rPr lang="en-IN" sz="1600" i="1">
                <a:solidFill>
                  <a:srgbClr val="C00000"/>
                </a:solidFill>
                <a:latin typeface="Calibri"/>
                <a:cs typeface="Calibri"/>
              </a:rPr>
              <a:t>L’Élégance du Passé </a:t>
            </a:r>
            <a:r>
              <a:rPr lang="en-IN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build a strong supply chain and reach the </a:t>
            </a:r>
            <a:r>
              <a:rPr lang="en-US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Parisian Audience</a:t>
            </a:r>
            <a:endParaRPr sz="1600" i="1">
              <a:solidFill>
                <a:schemeClr val="bg1">
                  <a:lumMod val="6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61" name="object 81">
            <a:extLst>
              <a:ext uri="{FF2B5EF4-FFF2-40B4-BE49-F238E27FC236}">
                <a16:creationId xmlns:a16="http://schemas.microsoft.com/office/drawing/2014/main" id="{F7F97B83-E65A-5A64-1763-3605296342AB}"/>
              </a:ext>
            </a:extLst>
          </p:cNvPr>
          <p:cNvSpPr txBox="1">
            <a:spLocks/>
          </p:cNvSpPr>
          <p:nvPr/>
        </p:nvSpPr>
        <p:spPr>
          <a:xfrm>
            <a:off x="11732386" y="650354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US" spc="-50"/>
              <a:t>2</a:t>
            </a:r>
            <a:endParaRPr lang="en-IN" spc="-5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61083E-F7EE-6803-C40F-27970F845FD8}"/>
              </a:ext>
            </a:extLst>
          </p:cNvPr>
          <p:cNvSpPr/>
          <p:nvPr/>
        </p:nvSpPr>
        <p:spPr>
          <a:xfrm>
            <a:off x="10700238" y="201557"/>
            <a:ext cx="1380127" cy="5398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9B4FAB-6A12-00A3-EE02-D0FE1FEF8B14}"/>
              </a:ext>
            </a:extLst>
          </p:cNvPr>
          <p:cNvSpPr/>
          <p:nvPr/>
        </p:nvSpPr>
        <p:spPr>
          <a:xfrm>
            <a:off x="104153" y="946547"/>
            <a:ext cx="4004855" cy="25439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OWNER’S BACKGROUND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C4E79BB2-3B50-003F-9B7A-FDB35215ADE3}"/>
              </a:ext>
            </a:extLst>
          </p:cNvPr>
          <p:cNvCxnSpPr>
            <a:cxnSpLocks/>
          </p:cNvCxnSpPr>
          <p:nvPr/>
        </p:nvCxnSpPr>
        <p:spPr>
          <a:xfrm>
            <a:off x="1961912" y="1899558"/>
            <a:ext cx="0" cy="148912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A280AAF-3CE2-EF0C-999E-DEF3FE8B1026}"/>
              </a:ext>
            </a:extLst>
          </p:cNvPr>
          <p:cNvSpPr txBox="1"/>
          <p:nvPr/>
        </p:nvSpPr>
        <p:spPr>
          <a:xfrm>
            <a:off x="976280" y="1989273"/>
            <a:ext cx="2260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>
                <a:solidFill>
                  <a:schemeClr val="tx1">
                    <a:lumMod val="50000"/>
                    <a:lumOff val="50000"/>
                  </a:schemeClr>
                </a:solidFill>
              </a:rPr>
              <a:t>Achievements of Chef R</a:t>
            </a:r>
            <a:r>
              <a:rPr lang="en-IN" sz="1400" b="1" i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emy</a:t>
            </a:r>
            <a:endParaRPr lang="en-IN" sz="1400" b="1" i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9A4D185-7F6B-4964-6E31-B35F277343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0520" y="1963166"/>
            <a:ext cx="365760" cy="36576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0D226A7E-2E47-A0C7-DF46-56D6311444C7}"/>
              </a:ext>
            </a:extLst>
          </p:cNvPr>
          <p:cNvSpPr/>
          <p:nvPr/>
        </p:nvSpPr>
        <p:spPr>
          <a:xfrm>
            <a:off x="134633" y="2297050"/>
            <a:ext cx="3974376" cy="11065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50800" dir="3000000" algn="tl" rotWithShape="0">
              <a:prstClr val="black">
                <a:alpha val="47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 i="1">
                <a:solidFill>
                  <a:schemeClr val="bg2">
                    <a:lumMod val="25000"/>
                  </a:schemeClr>
                </a:solidFill>
              </a:rPr>
              <a:t>Winner of Le Gourmet d'Or (2021): </a:t>
            </a:r>
            <a:r>
              <a:rPr lang="en-US" sz="1100">
                <a:solidFill>
                  <a:schemeClr val="bg2">
                    <a:lumMod val="25000"/>
                  </a:schemeClr>
                </a:solidFill>
              </a:rPr>
              <a:t>Recognized for his </a:t>
            </a:r>
            <a:r>
              <a:rPr lang="en-US" sz="1100" i="1">
                <a:solidFill>
                  <a:srgbClr val="FF0000"/>
                </a:solidFill>
              </a:rPr>
              <a:t>innovative reinterpretation</a:t>
            </a:r>
            <a:r>
              <a:rPr lang="en-US" sz="1100">
                <a:solidFill>
                  <a:schemeClr val="bg2">
                    <a:lumMod val="25000"/>
                  </a:schemeClr>
                </a:solidFill>
              </a:rPr>
              <a:t> of classic French dishes.</a:t>
            </a:r>
          </a:p>
          <a:p>
            <a:pPr lvl="1"/>
            <a:r>
              <a:rPr lang="en-US" sz="1100" b="1" i="1">
                <a:solidFill>
                  <a:schemeClr val="bg2">
                    <a:lumMod val="25000"/>
                  </a:schemeClr>
                </a:solidFill>
              </a:rPr>
              <a:t>Master of French Cuisine (2022): </a:t>
            </a:r>
            <a:r>
              <a:rPr lang="en-US" sz="1100">
                <a:solidFill>
                  <a:schemeClr val="bg2">
                    <a:lumMod val="25000"/>
                  </a:schemeClr>
                </a:solidFill>
              </a:rPr>
              <a:t>Lauded for </a:t>
            </a:r>
            <a:r>
              <a:rPr lang="en-US" sz="1100" i="1">
                <a:solidFill>
                  <a:srgbClr val="FF0000"/>
                </a:solidFill>
              </a:rPr>
              <a:t>exceptional creativity and mastery </a:t>
            </a:r>
            <a:r>
              <a:rPr lang="en-US" sz="1100">
                <a:solidFill>
                  <a:schemeClr val="bg2">
                    <a:lumMod val="25000"/>
                  </a:schemeClr>
                </a:solidFill>
              </a:rPr>
              <a:t>of traditional techniques.</a:t>
            </a:r>
          </a:p>
          <a:p>
            <a:pPr lvl="1"/>
            <a:r>
              <a:rPr lang="en-US" sz="1100" b="1" i="1">
                <a:solidFill>
                  <a:schemeClr val="bg2">
                    <a:lumMod val="25000"/>
                  </a:schemeClr>
                </a:solidFill>
              </a:rPr>
              <a:t>Culinary World Cup (2023): </a:t>
            </a:r>
            <a:r>
              <a:rPr lang="en-US" sz="1100">
                <a:solidFill>
                  <a:schemeClr val="bg2">
                    <a:lumMod val="25000"/>
                  </a:schemeClr>
                </a:solidFill>
              </a:rPr>
              <a:t>Earned international acclaim for his </a:t>
            </a:r>
            <a:r>
              <a:rPr lang="en-US" sz="1100" i="1">
                <a:solidFill>
                  <a:srgbClr val="FF0000"/>
                </a:solidFill>
              </a:rPr>
              <a:t>bold flavors and artistic presentations</a:t>
            </a:r>
            <a:r>
              <a:rPr lang="en-US" sz="1100">
                <a:solidFill>
                  <a:schemeClr val="bg2">
                    <a:lumMod val="25000"/>
                  </a:schemeClr>
                </a:solidFill>
              </a:rPr>
              <a:t>.</a:t>
            </a:r>
            <a:endParaRPr lang="en-IN" sz="1100">
              <a:solidFill>
                <a:schemeClr val="bg2">
                  <a:lumMod val="25000"/>
                </a:schemeClr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2DD23F4-8FBE-BB89-FDE7-B4F3329140F6}"/>
              </a:ext>
            </a:extLst>
          </p:cNvPr>
          <p:cNvCxnSpPr>
            <a:cxnSpLocks/>
          </p:cNvCxnSpPr>
          <p:nvPr/>
        </p:nvCxnSpPr>
        <p:spPr>
          <a:xfrm>
            <a:off x="4214074" y="919709"/>
            <a:ext cx="0" cy="2509291"/>
          </a:xfrm>
          <a:prstGeom prst="line">
            <a:avLst/>
          </a:prstGeom>
          <a:ln w="12192">
            <a:solidFill>
              <a:schemeClr val="bg1">
                <a:lumMod val="65000"/>
              </a:schemeClr>
            </a:solidFill>
            <a:prstDash val="lgDash"/>
          </a:ln>
        </p:spPr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1F7ADE64-6615-D262-4455-9E620B3578AA}"/>
              </a:ext>
            </a:extLst>
          </p:cNvPr>
          <p:cNvSpPr/>
          <p:nvPr/>
        </p:nvSpPr>
        <p:spPr>
          <a:xfrm>
            <a:off x="4318774" y="947921"/>
            <a:ext cx="7761225" cy="251221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SUPPLY CHAIN AND LOGISTIC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99F7AE5-07D3-6F2C-F3D2-6123D2CC57DF}"/>
              </a:ext>
            </a:extLst>
          </p:cNvPr>
          <p:cNvSpPr txBox="1"/>
          <p:nvPr/>
        </p:nvSpPr>
        <p:spPr>
          <a:xfrm>
            <a:off x="5831472" y="1667905"/>
            <a:ext cx="919823" cy="835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/>
              <a:t>X</a:t>
            </a:r>
            <a:endParaRPr lang="en-IN" sz="48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1A3BEEE-E2FB-AFBE-83C6-785A00D08804}"/>
              </a:ext>
            </a:extLst>
          </p:cNvPr>
          <p:cNvSpPr txBox="1"/>
          <p:nvPr/>
        </p:nvSpPr>
        <p:spPr>
          <a:xfrm>
            <a:off x="4353542" y="2945693"/>
            <a:ext cx="27303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>
                <a:latin typeface="Agency FB" panose="020B0503020202020204" pitchFamily="34" charset="0"/>
              </a:rPr>
              <a:t>LA RUCHE QUI DIT OUI</a:t>
            </a:r>
            <a:endParaRPr lang="en-IN" sz="1600" b="1" i="1">
              <a:latin typeface="Agency FB" panose="020B0503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8E69E18-167C-2C66-CF88-7EFB1040A05D}"/>
              </a:ext>
            </a:extLst>
          </p:cNvPr>
          <p:cNvSpPr txBox="1"/>
          <p:nvPr/>
        </p:nvSpPr>
        <p:spPr>
          <a:xfrm>
            <a:off x="6404349" y="2941670"/>
            <a:ext cx="27303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i="1">
                <a:latin typeface="Agency FB" panose="020B0503020202020204" pitchFamily="34" charset="0"/>
                <a:cs typeface="Calibri"/>
              </a:rPr>
              <a:t>L’ÉLÉGANCE DU PASSÉ</a:t>
            </a:r>
            <a:endParaRPr lang="en-IN" sz="1600" b="1" i="1">
              <a:latin typeface="Agency FB" panose="020B0503020202020204" pitchFamily="34" charset="0"/>
            </a:endParaRPr>
          </a:p>
        </p:txBody>
      </p:sp>
      <p:pic>
        <p:nvPicPr>
          <p:cNvPr id="1028" name="Picture 4" descr="logo-la-ruche-qui-dit-oui | RBC Revel Bastide Commerciale">
            <a:extLst>
              <a:ext uri="{FF2B5EF4-FFF2-40B4-BE49-F238E27FC236}">
                <a16:creationId xmlns:a16="http://schemas.microsoft.com/office/drawing/2014/main" id="{CEF83F0C-C5D2-FAB7-8FFB-8F90C033FA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53" r="29265"/>
          <a:stretch/>
        </p:blipFill>
        <p:spPr bwMode="auto">
          <a:xfrm>
            <a:off x="4361856" y="1476259"/>
            <a:ext cx="1501908" cy="1309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F7B70243-FA94-C0E4-B795-D718C5DB54FC}"/>
              </a:ext>
            </a:extLst>
          </p:cNvPr>
          <p:cNvSpPr txBox="1"/>
          <p:nvPr/>
        </p:nvSpPr>
        <p:spPr>
          <a:xfrm>
            <a:off x="9106558" y="1248163"/>
            <a:ext cx="2213483" cy="445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600" b="1"/>
              <a:t>LA RUCHE QUI DIT OUI</a:t>
            </a:r>
          </a:p>
          <a:p>
            <a:pPr algn="ctr">
              <a:lnSpc>
                <a:spcPct val="75000"/>
              </a:lnSpc>
            </a:pPr>
            <a:r>
              <a:rPr lang="en-US" sz="1400" i="1">
                <a:solidFill>
                  <a:schemeClr val="bg1">
                    <a:lumMod val="50000"/>
                  </a:schemeClr>
                </a:solidFill>
              </a:rPr>
              <a:t>The Premier Supplier </a:t>
            </a:r>
            <a:endParaRPr lang="en-IN" sz="1600" i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A3FADF2-5612-66BE-D9FD-6497D5780478}"/>
              </a:ext>
            </a:extLst>
          </p:cNvPr>
          <p:cNvSpPr/>
          <p:nvPr/>
        </p:nvSpPr>
        <p:spPr>
          <a:xfrm>
            <a:off x="8353722" y="1694629"/>
            <a:ext cx="3679977" cy="1707699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DC178E43-294C-52CB-B3B6-86D391696E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20856" y="1220487"/>
            <a:ext cx="486617" cy="439065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296A4A44-B675-34CD-CAE1-C46C065CD2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82692" y="1741467"/>
            <a:ext cx="704029" cy="54018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A876141F-F2BF-5B86-2044-1CBB04C4B9D4}"/>
              </a:ext>
            </a:extLst>
          </p:cNvPr>
          <p:cNvSpPr txBox="1"/>
          <p:nvPr/>
        </p:nvSpPr>
        <p:spPr>
          <a:xfrm>
            <a:off x="8376872" y="2251851"/>
            <a:ext cx="1944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/>
              <a:t>Sustainability Focus</a:t>
            </a:r>
            <a:endParaRPr lang="en-IN" sz="1400" i="1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4DAD126-2C0F-E47D-6793-92EE544DF9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67704" y="1697111"/>
            <a:ext cx="582592" cy="582592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306BEE6C-B72D-9F65-3FE9-9475DDC24DDF}"/>
              </a:ext>
            </a:extLst>
          </p:cNvPr>
          <p:cNvSpPr txBox="1"/>
          <p:nvPr/>
        </p:nvSpPr>
        <p:spPr>
          <a:xfrm>
            <a:off x="10055914" y="2251851"/>
            <a:ext cx="21360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/>
              <a:t>High-Quality Ingredients</a:t>
            </a:r>
            <a:endParaRPr lang="en-IN" sz="1400" i="1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120206A7-4449-CC8A-EE68-EF80DC9567A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44899" y="2580306"/>
            <a:ext cx="571018" cy="571018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1378174B-15EA-B71A-32D9-F04243CC542A}"/>
              </a:ext>
            </a:extLst>
          </p:cNvPr>
          <p:cNvSpPr txBox="1"/>
          <p:nvPr/>
        </p:nvSpPr>
        <p:spPr>
          <a:xfrm>
            <a:off x="8410922" y="3122938"/>
            <a:ext cx="1944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/>
              <a:t>Strong Reputation </a:t>
            </a:r>
            <a:endParaRPr lang="en-IN" sz="1400" i="1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78413E7-69EB-71A1-057E-FC229091252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08314" y="2592374"/>
            <a:ext cx="704029" cy="630648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C632E535-616F-2E28-E199-C2AEC9FA284C}"/>
              </a:ext>
            </a:extLst>
          </p:cNvPr>
          <p:cNvSpPr txBox="1"/>
          <p:nvPr/>
        </p:nvSpPr>
        <p:spPr>
          <a:xfrm>
            <a:off x="10251703" y="3121235"/>
            <a:ext cx="21360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/>
              <a:t>Flexibility in Supply</a:t>
            </a:r>
            <a:endParaRPr lang="en-IN" sz="1400" i="1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B355AA0-80A2-999C-6A8B-80BAC6F53E16}"/>
              </a:ext>
            </a:extLst>
          </p:cNvPr>
          <p:cNvCxnSpPr>
            <a:cxnSpLocks/>
          </p:cNvCxnSpPr>
          <p:nvPr/>
        </p:nvCxnSpPr>
        <p:spPr>
          <a:xfrm flipH="1">
            <a:off x="104153" y="3553672"/>
            <a:ext cx="11929548" cy="0"/>
          </a:xfrm>
          <a:prstGeom prst="line">
            <a:avLst/>
          </a:prstGeom>
          <a:ln w="12192">
            <a:solidFill>
              <a:schemeClr val="bg1">
                <a:lumMod val="65000"/>
              </a:schemeClr>
            </a:solidFill>
            <a:prstDash val="lgDash"/>
          </a:ln>
        </p:spPr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B543D0D4-6638-D6F8-0DDE-0D8045C22654}"/>
              </a:ext>
            </a:extLst>
          </p:cNvPr>
          <p:cNvSpPr/>
          <p:nvPr/>
        </p:nvSpPr>
        <p:spPr>
          <a:xfrm>
            <a:off x="5729468" y="3620297"/>
            <a:ext cx="6350256" cy="257642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THE HISTORICAL TIMELINE RESTAURANT 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4D658B4-197E-A386-CC0E-9105CE53F63C}"/>
              </a:ext>
            </a:extLst>
          </p:cNvPr>
          <p:cNvCxnSpPr>
            <a:cxnSpLocks/>
          </p:cNvCxnSpPr>
          <p:nvPr/>
        </p:nvCxnSpPr>
        <p:spPr>
          <a:xfrm>
            <a:off x="5581479" y="3630980"/>
            <a:ext cx="0" cy="2665648"/>
          </a:xfrm>
          <a:prstGeom prst="line">
            <a:avLst/>
          </a:prstGeom>
          <a:ln w="12192">
            <a:solidFill>
              <a:schemeClr val="bg1">
                <a:lumMod val="65000"/>
              </a:schemeClr>
            </a:solidFill>
            <a:prstDash val="lgDash"/>
          </a:ln>
        </p:spPr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A9ED77A8-BDC0-A111-FF06-4976A515D7F7}"/>
              </a:ext>
            </a:extLst>
          </p:cNvPr>
          <p:cNvSpPr txBox="1"/>
          <p:nvPr/>
        </p:nvSpPr>
        <p:spPr>
          <a:xfrm>
            <a:off x="5770924" y="3897150"/>
            <a:ext cx="213608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/>
              <a:t>RENAISSANCE (1500s)</a:t>
            </a:r>
            <a:endParaRPr lang="en-IN" sz="1500" b="1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263B3F-8B01-B2D9-8CDB-C15F5C3B1E6F}"/>
              </a:ext>
            </a:extLst>
          </p:cNvPr>
          <p:cNvSpPr txBox="1"/>
          <p:nvPr/>
        </p:nvSpPr>
        <p:spPr>
          <a:xfrm>
            <a:off x="7920141" y="3912664"/>
            <a:ext cx="213608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/>
              <a:t>BELLE EQUOPE (1900s)</a:t>
            </a:r>
            <a:endParaRPr lang="en-IN" sz="1500" b="1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B5E8474-9206-C071-82B2-922280CE59B5}"/>
              </a:ext>
            </a:extLst>
          </p:cNvPr>
          <p:cNvSpPr txBox="1"/>
          <p:nvPr/>
        </p:nvSpPr>
        <p:spPr>
          <a:xfrm>
            <a:off x="10069358" y="3897150"/>
            <a:ext cx="213608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/>
              <a:t>MODERN PARIS (2000s)</a:t>
            </a:r>
            <a:endParaRPr lang="en-IN" sz="1500" b="1"/>
          </a:p>
        </p:txBody>
      </p:sp>
      <p:sp>
        <p:nvSpPr>
          <p:cNvPr id="68" name="Arrow: Chevron 67">
            <a:extLst>
              <a:ext uri="{FF2B5EF4-FFF2-40B4-BE49-F238E27FC236}">
                <a16:creationId xmlns:a16="http://schemas.microsoft.com/office/drawing/2014/main" id="{C8A34E1E-D336-D1BD-4475-7721B29F4E8C}"/>
              </a:ext>
            </a:extLst>
          </p:cNvPr>
          <p:cNvSpPr/>
          <p:nvPr/>
        </p:nvSpPr>
        <p:spPr>
          <a:xfrm>
            <a:off x="7663151" y="4096502"/>
            <a:ext cx="303999" cy="418258"/>
          </a:xfrm>
          <a:prstGeom prst="chevr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A2A0263-17C0-907E-72D7-C1B84C59D3A7}"/>
              </a:ext>
            </a:extLst>
          </p:cNvPr>
          <p:cNvSpPr txBox="1"/>
          <p:nvPr/>
        </p:nvSpPr>
        <p:spPr>
          <a:xfrm>
            <a:off x="5674216" y="4159786"/>
            <a:ext cx="204819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/>
              <a:t>Hearty stews, artisanal breads, and medieval-inspired beverages</a:t>
            </a:r>
            <a:endParaRPr lang="en-IN" sz="110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C8480EF-C05C-FBFB-D7F8-69F8CE0EC515}"/>
              </a:ext>
            </a:extLst>
          </p:cNvPr>
          <p:cNvSpPr txBox="1"/>
          <p:nvPr/>
        </p:nvSpPr>
        <p:spPr>
          <a:xfrm>
            <a:off x="7837919" y="4159786"/>
            <a:ext cx="208118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/>
              <a:t>Elegant French pastries, classic dishes like Ratatouille and Quiche Lorraine.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19867CB-31D4-B81B-0925-A2535EC7C092}"/>
              </a:ext>
            </a:extLst>
          </p:cNvPr>
          <p:cNvSpPr txBox="1"/>
          <p:nvPr/>
        </p:nvSpPr>
        <p:spPr>
          <a:xfrm>
            <a:off x="10040500" y="4162093"/>
            <a:ext cx="208118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/>
              <a:t>Innovative fusion dishes, plant-based options, and molecular gastronomy.</a:t>
            </a:r>
            <a:endParaRPr lang="en-IN" sz="1100"/>
          </a:p>
        </p:txBody>
      </p:sp>
      <p:sp>
        <p:nvSpPr>
          <p:cNvPr id="74" name="Arrow: Chevron 73">
            <a:extLst>
              <a:ext uri="{FF2B5EF4-FFF2-40B4-BE49-F238E27FC236}">
                <a16:creationId xmlns:a16="http://schemas.microsoft.com/office/drawing/2014/main" id="{BB80F2E0-63AA-8E5D-605F-3B26A66A4186}"/>
              </a:ext>
            </a:extLst>
          </p:cNvPr>
          <p:cNvSpPr/>
          <p:nvPr/>
        </p:nvSpPr>
        <p:spPr>
          <a:xfrm>
            <a:off x="9841121" y="4098432"/>
            <a:ext cx="303999" cy="418258"/>
          </a:xfrm>
          <a:prstGeom prst="chevr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420C3F70-8D49-59E8-98A2-0FD1BB43B775}"/>
              </a:ext>
            </a:extLst>
          </p:cNvPr>
          <p:cNvCxnSpPr>
            <a:cxnSpLocks/>
          </p:cNvCxnSpPr>
          <p:nvPr/>
        </p:nvCxnSpPr>
        <p:spPr>
          <a:xfrm flipH="1">
            <a:off x="5627154" y="4783100"/>
            <a:ext cx="6406545" cy="0"/>
          </a:xfrm>
          <a:prstGeom prst="line">
            <a:avLst/>
          </a:prstGeom>
          <a:ln w="12192">
            <a:solidFill>
              <a:schemeClr val="bg1">
                <a:lumMod val="65000"/>
              </a:schemeClr>
            </a:solidFill>
            <a:prstDash val="lgDash"/>
          </a:ln>
        </p:spPr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3664C172-76CD-6D72-3BDE-51D98B970B69}"/>
              </a:ext>
            </a:extLst>
          </p:cNvPr>
          <p:cNvSpPr txBox="1"/>
          <p:nvPr/>
        </p:nvSpPr>
        <p:spPr>
          <a:xfrm>
            <a:off x="6249115" y="4718020"/>
            <a:ext cx="6007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>
                <a:solidFill>
                  <a:srgbClr val="FF0000"/>
                </a:solidFill>
              </a:rPr>
              <a:t>Theme:</a:t>
            </a:r>
            <a:r>
              <a:rPr lang="en-US" sz="2000" b="1" i="1">
                <a:solidFill>
                  <a:srgbClr val="FF0000"/>
                </a:solidFill>
              </a:rPr>
              <a:t> </a:t>
            </a:r>
            <a:r>
              <a:rPr lang="en-US" sz="1700" i="1">
                <a:solidFill>
                  <a:schemeClr val="tx1">
                    <a:lumMod val="65000"/>
                    <a:lumOff val="35000"/>
                  </a:schemeClr>
                </a:solidFill>
              </a:rPr>
              <a:t>"La Quintessence" </a:t>
            </a:r>
            <a:r>
              <a:rPr lang="en-US" sz="1700">
                <a:solidFill>
                  <a:schemeClr val="tx1">
                    <a:lumMod val="65000"/>
                    <a:lumOff val="35000"/>
                  </a:schemeClr>
                </a:solidFill>
              </a:rPr>
              <a:t>(The Essence of Fine Dining)</a:t>
            </a:r>
            <a:endParaRPr lang="en-IN" sz="17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E15D3B5-38EC-9C21-B75A-C86501342D1B}"/>
              </a:ext>
            </a:extLst>
          </p:cNvPr>
          <p:cNvSpPr/>
          <p:nvPr/>
        </p:nvSpPr>
        <p:spPr>
          <a:xfrm>
            <a:off x="5674216" y="5094979"/>
            <a:ext cx="1189571" cy="11784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1">
                <a:solidFill>
                  <a:schemeClr val="tx1"/>
                </a:solidFill>
              </a:rPr>
              <a:t>Elements For Execution</a:t>
            </a:r>
            <a:endParaRPr lang="en-IN" sz="1600" b="1" i="1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B957A1C8-3E2E-88FE-82B8-CEB2B8417B7B}"/>
              </a:ext>
            </a:extLst>
          </p:cNvPr>
          <p:cNvSpPr/>
          <p:nvPr/>
        </p:nvSpPr>
        <p:spPr>
          <a:xfrm>
            <a:off x="7226880" y="5094979"/>
            <a:ext cx="2158155" cy="271081"/>
          </a:xfrm>
          <a:prstGeom prst="rect">
            <a:avLst/>
          </a:prstGeom>
          <a:solidFill>
            <a:srgbClr val="C0000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/>
              <a:t>Ambience</a:t>
            </a:r>
            <a:endParaRPr lang="en-IN" sz="1600" b="1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832FC1B5-EDDC-A6DF-F167-FCA60A955256}"/>
              </a:ext>
            </a:extLst>
          </p:cNvPr>
          <p:cNvSpPr/>
          <p:nvPr/>
        </p:nvSpPr>
        <p:spPr>
          <a:xfrm>
            <a:off x="9817971" y="5094979"/>
            <a:ext cx="2158155" cy="271081"/>
          </a:xfrm>
          <a:prstGeom prst="rect">
            <a:avLst/>
          </a:prstGeom>
          <a:solidFill>
            <a:srgbClr val="C0000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/>
              <a:t>Decor</a:t>
            </a:r>
            <a:endParaRPr lang="en-IN" sz="1600" b="1"/>
          </a:p>
        </p:txBody>
      </p:sp>
      <p:pic>
        <p:nvPicPr>
          <p:cNvPr id="89" name="Picture 88">
            <a:extLst>
              <a:ext uri="{FF2B5EF4-FFF2-40B4-BE49-F238E27FC236}">
                <a16:creationId xmlns:a16="http://schemas.microsoft.com/office/drawing/2014/main" id="{5875BE22-C455-22D7-A9C0-42616772272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52192" y="5017620"/>
            <a:ext cx="432122" cy="432122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E0FF46DD-D509-183E-BBE7-90D4151227E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28708" y="5034424"/>
            <a:ext cx="438489" cy="43848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A8CA80-319A-EBA5-FC37-8947F20110A8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ADD4640-F61A-93E8-3642-E6663F9A4220}"/>
              </a:ext>
            </a:extLst>
          </p:cNvPr>
          <p:cNvSpPr txBox="1"/>
          <p:nvPr/>
        </p:nvSpPr>
        <p:spPr>
          <a:xfrm>
            <a:off x="1021087" y="6044450"/>
            <a:ext cx="3769717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 sz="1400" b="1"/>
              <a:t>Why</a:t>
            </a:r>
            <a:r>
              <a:rPr lang="en-IN" sz="1400" b="1">
                <a:solidFill>
                  <a:srgbClr val="C00000"/>
                </a:solidFill>
              </a:rPr>
              <a:t> Montmartre</a:t>
            </a:r>
            <a:r>
              <a:rPr lang="en-IN" sz="1400" b="1"/>
              <a:t> is the Ideal Location for us…</a:t>
            </a:r>
            <a:endParaRPr lang="en-IN" sz="1400" b="1">
              <a:ea typeface="Calibri"/>
              <a:cs typeface="Calibri"/>
            </a:endParaRPr>
          </a:p>
        </p:txBody>
      </p:sp>
      <p:sp>
        <p:nvSpPr>
          <p:cNvPr id="36" name="Flowchart: Sequential Access Storage 35">
            <a:extLst>
              <a:ext uri="{FF2B5EF4-FFF2-40B4-BE49-F238E27FC236}">
                <a16:creationId xmlns:a16="http://schemas.microsoft.com/office/drawing/2014/main" id="{7CDB517C-B87F-37E8-100F-F762F700BA98}"/>
              </a:ext>
            </a:extLst>
          </p:cNvPr>
          <p:cNvSpPr/>
          <p:nvPr/>
        </p:nvSpPr>
        <p:spPr>
          <a:xfrm>
            <a:off x="210427" y="4886134"/>
            <a:ext cx="1038510" cy="1043059"/>
          </a:xfrm>
          <a:prstGeom prst="flowChartMagneticTap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38" name="Flowchart: Sequential Access Storage 37">
            <a:extLst>
              <a:ext uri="{FF2B5EF4-FFF2-40B4-BE49-F238E27FC236}">
                <a16:creationId xmlns:a16="http://schemas.microsoft.com/office/drawing/2014/main" id="{28956D9D-53DE-0C0D-6BA5-AF0884550520}"/>
              </a:ext>
            </a:extLst>
          </p:cNvPr>
          <p:cNvSpPr/>
          <p:nvPr/>
        </p:nvSpPr>
        <p:spPr>
          <a:xfrm flipH="1">
            <a:off x="4288405" y="4862985"/>
            <a:ext cx="1038510" cy="1078001"/>
          </a:xfrm>
          <a:prstGeom prst="flowChartMagneticTap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39" name="Flowchart: Sequential Access Storage 38">
            <a:extLst>
              <a:ext uri="{FF2B5EF4-FFF2-40B4-BE49-F238E27FC236}">
                <a16:creationId xmlns:a16="http://schemas.microsoft.com/office/drawing/2014/main" id="{54161F4E-FEB8-4D1D-13BF-84ABA7F70397}"/>
              </a:ext>
            </a:extLst>
          </p:cNvPr>
          <p:cNvSpPr/>
          <p:nvPr/>
        </p:nvSpPr>
        <p:spPr>
          <a:xfrm flipV="1">
            <a:off x="198148" y="3707110"/>
            <a:ext cx="953023" cy="909933"/>
          </a:xfrm>
          <a:prstGeom prst="flowChartMagneticTap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40" name="Flowchart: Sequential Access Storage 39">
            <a:extLst>
              <a:ext uri="{FF2B5EF4-FFF2-40B4-BE49-F238E27FC236}">
                <a16:creationId xmlns:a16="http://schemas.microsoft.com/office/drawing/2014/main" id="{C45564A2-8CF8-7CC3-EADB-9D06F224F8C2}"/>
              </a:ext>
            </a:extLst>
          </p:cNvPr>
          <p:cNvSpPr/>
          <p:nvPr/>
        </p:nvSpPr>
        <p:spPr>
          <a:xfrm flipH="1" flipV="1">
            <a:off x="4433031" y="3741521"/>
            <a:ext cx="907130" cy="909933"/>
          </a:xfrm>
          <a:prstGeom prst="flowChartMagneticTap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9C4E91E-98E7-069E-CDC5-52B1D32240F7}"/>
              </a:ext>
            </a:extLst>
          </p:cNvPr>
          <p:cNvSpPr txBox="1"/>
          <p:nvPr/>
        </p:nvSpPr>
        <p:spPr>
          <a:xfrm>
            <a:off x="242727" y="3834703"/>
            <a:ext cx="8643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>
                <a:solidFill>
                  <a:schemeClr val="bg1"/>
                </a:solidFill>
              </a:rPr>
              <a:t>Welcomes </a:t>
            </a:r>
            <a:r>
              <a:rPr lang="en-IN" sz="1000" b="1" i="1">
                <a:solidFill>
                  <a:srgbClr val="FFFF00"/>
                </a:solidFill>
              </a:rPr>
              <a:t>over 10mn </a:t>
            </a:r>
            <a:r>
              <a:rPr lang="en-IN" sz="1000">
                <a:solidFill>
                  <a:schemeClr val="bg1"/>
                </a:solidFill>
              </a:rPr>
              <a:t>visitors Annually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8B7006F-B3DD-8A50-8456-623A2B708E78}"/>
              </a:ext>
            </a:extLst>
          </p:cNvPr>
          <p:cNvSpPr txBox="1"/>
          <p:nvPr/>
        </p:nvSpPr>
        <p:spPr>
          <a:xfrm>
            <a:off x="4443548" y="3875399"/>
            <a:ext cx="8643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>
                <a:solidFill>
                  <a:schemeClr val="bg1"/>
                </a:solidFill>
              </a:rPr>
              <a:t>Famous for its</a:t>
            </a:r>
            <a:r>
              <a:rPr lang="en-IN" sz="1000" b="1" u="sng">
                <a:solidFill>
                  <a:schemeClr val="bg1"/>
                </a:solidFill>
              </a:rPr>
              <a:t> </a:t>
            </a:r>
            <a:r>
              <a:rPr lang="en-IN" sz="1000" b="1" i="1">
                <a:solidFill>
                  <a:srgbClr val="FFFF00"/>
                </a:solidFill>
              </a:rPr>
              <a:t>Artistic and Cultural Herit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06791A3-9CAF-862D-8054-9960FF6D1A3A}"/>
              </a:ext>
            </a:extLst>
          </p:cNvPr>
          <p:cNvSpPr txBox="1"/>
          <p:nvPr/>
        </p:nvSpPr>
        <p:spPr>
          <a:xfrm>
            <a:off x="295110" y="5146420"/>
            <a:ext cx="8643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>
                <a:solidFill>
                  <a:schemeClr val="bg1"/>
                </a:solidFill>
              </a:rPr>
              <a:t>Aligned with </a:t>
            </a:r>
            <a:r>
              <a:rPr lang="en-IN" sz="1000" b="1" i="1">
                <a:solidFill>
                  <a:srgbClr val="FFFF00"/>
                </a:solidFill>
              </a:rPr>
              <a:t>the Idea of Rat Chef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5F0AEC3-4720-BBEA-82B9-31535575FCE6}"/>
              </a:ext>
            </a:extLst>
          </p:cNvPr>
          <p:cNvSpPr txBox="1"/>
          <p:nvPr/>
        </p:nvSpPr>
        <p:spPr>
          <a:xfrm>
            <a:off x="4351778" y="5094979"/>
            <a:ext cx="8643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>
                <a:solidFill>
                  <a:schemeClr val="bg1"/>
                </a:solidFill>
              </a:rPr>
              <a:t>Serves </a:t>
            </a:r>
            <a:r>
              <a:rPr lang="en-IN" sz="1000" b="1" i="1">
                <a:solidFill>
                  <a:srgbClr val="FFFF00"/>
                </a:solidFill>
              </a:rPr>
              <a:t>200+</a:t>
            </a:r>
            <a:r>
              <a:rPr lang="en-IN" sz="1000" i="1">
                <a:solidFill>
                  <a:srgbClr val="FFFF00"/>
                </a:solidFill>
              </a:rPr>
              <a:t> </a:t>
            </a:r>
            <a:r>
              <a:rPr lang="en-IN" sz="1000">
                <a:solidFill>
                  <a:schemeClr val="bg1"/>
                </a:solidFill>
              </a:rPr>
              <a:t>restaurants and Cafe`s </a:t>
            </a:r>
            <a:endParaRPr lang="en-IN" sz="1000">
              <a:solidFill>
                <a:srgbClr val="FFFF00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2256D3D-8C2D-2AA4-58AE-9469F5BDF71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flipH="1">
            <a:off x="-46999" y="2559628"/>
            <a:ext cx="768182" cy="93454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7F18796-497E-D0E2-0617-A5AD40BAA2F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607337" y="3664334"/>
            <a:ext cx="482955" cy="482955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9AD113DF-33A9-9B7F-3ECC-EED94933F83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9749" y="211373"/>
            <a:ext cx="601441" cy="566062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71F1B94E-F3FD-4AB9-00A4-056A2E7DAD9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" t="2180" r="6805" b="5856"/>
          <a:stretch/>
        </p:blipFill>
        <p:spPr>
          <a:xfrm>
            <a:off x="6439963" y="1482404"/>
            <a:ext cx="1814280" cy="1205911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4A79C593-E520-9DBA-A30F-68D13A09A3C7}"/>
              </a:ext>
            </a:extLst>
          </p:cNvPr>
          <p:cNvSpPr/>
          <p:nvPr/>
        </p:nvSpPr>
        <p:spPr>
          <a:xfrm>
            <a:off x="6637636" y="1649959"/>
            <a:ext cx="116212" cy="420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5CBFAAE1-EB5D-C2FC-1FCE-9C0E65A6655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091255" y="2132505"/>
            <a:ext cx="465171" cy="643148"/>
          </a:xfrm>
          <a:prstGeom prst="rect">
            <a:avLst/>
          </a:prstGeom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FAAD1BC5-8BC0-E7C9-31E2-87131C387579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B634736-96A9-3298-2CCB-16C72547D569}"/>
              </a:ext>
            </a:extLst>
          </p:cNvPr>
          <p:cNvSpPr txBox="1"/>
          <p:nvPr/>
        </p:nvSpPr>
        <p:spPr>
          <a:xfrm>
            <a:off x="2067459" y="6441730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C00000"/>
                </a:solidFill>
              </a:rPr>
              <a:t>Market Entry Strategy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7CA2B53-BBB0-E4E9-F6B1-D9937CA43D2D}"/>
              </a:ext>
            </a:extLst>
          </p:cNvPr>
          <p:cNvSpPr txBox="1"/>
          <p:nvPr/>
        </p:nvSpPr>
        <p:spPr>
          <a:xfrm>
            <a:off x="4141781" y="6452763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Customer Value Proposition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C98BA07-6DFA-AC2F-F1BF-74E75EF25503}"/>
              </a:ext>
            </a:extLst>
          </p:cNvPr>
          <p:cNvSpPr txBox="1"/>
          <p:nvPr/>
        </p:nvSpPr>
        <p:spPr>
          <a:xfrm>
            <a:off x="6623801" y="6460634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ing &amp; Promotion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7D56121-C693-51AB-8318-B508FA308051}"/>
              </a:ext>
            </a:extLst>
          </p:cNvPr>
          <p:cNvSpPr txBox="1"/>
          <p:nvPr/>
        </p:nvSpPr>
        <p:spPr>
          <a:xfrm>
            <a:off x="8689690" y="6466465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Size &amp; Timeline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47F340B-0587-226B-228E-D3247E0DF5EA}"/>
              </a:ext>
            </a:extLst>
          </p:cNvPr>
          <p:cNvSpPr txBox="1"/>
          <p:nvPr/>
        </p:nvSpPr>
        <p:spPr>
          <a:xfrm>
            <a:off x="10293355" y="6452246"/>
            <a:ext cx="1239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Appendix</a:t>
            </a:r>
          </a:p>
        </p:txBody>
      </p:sp>
      <p:sp>
        <p:nvSpPr>
          <p:cNvPr id="15" name="object 2">
            <a:extLst>
              <a:ext uri="{FF2B5EF4-FFF2-40B4-BE49-F238E27FC236}">
                <a16:creationId xmlns:a16="http://schemas.microsoft.com/office/drawing/2014/main" id="{D6530D56-060F-0A6E-53B8-A38C6F5989BB}"/>
              </a:ext>
            </a:extLst>
          </p:cNvPr>
          <p:cNvSpPr/>
          <p:nvPr/>
        </p:nvSpPr>
        <p:spPr>
          <a:xfrm>
            <a:off x="8295594" y="6385872"/>
            <a:ext cx="1393787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1D038CE-FB54-EA5C-7ADA-B0A3A48C7255}"/>
              </a:ext>
            </a:extLst>
          </p:cNvPr>
          <p:cNvSpPr/>
          <p:nvPr/>
        </p:nvSpPr>
        <p:spPr>
          <a:xfrm>
            <a:off x="0" y="6368717"/>
            <a:ext cx="12192000" cy="5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20" name="object 81">
            <a:extLst>
              <a:ext uri="{FF2B5EF4-FFF2-40B4-BE49-F238E27FC236}">
                <a16:creationId xmlns:a16="http://schemas.microsoft.com/office/drawing/2014/main" id="{75D59CDD-4E1D-A9B4-AAD0-334BF0DE8673}"/>
              </a:ext>
            </a:extLst>
          </p:cNvPr>
          <p:cNvSpPr txBox="1">
            <a:spLocks/>
          </p:cNvSpPr>
          <p:nvPr/>
        </p:nvSpPr>
        <p:spPr>
          <a:xfrm>
            <a:off x="11732386" y="650354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US" spc="-50"/>
              <a:t>2</a:t>
            </a:r>
            <a:endParaRPr lang="en-IN" spc="-5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9814CAD-C959-6939-A0C1-690D7E519CE4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27" name="object 2">
            <a:extLst>
              <a:ext uri="{FF2B5EF4-FFF2-40B4-BE49-F238E27FC236}">
                <a16:creationId xmlns:a16="http://schemas.microsoft.com/office/drawing/2014/main" id="{5443C95D-E582-E003-FA68-36BEBB1AB4AB}"/>
              </a:ext>
            </a:extLst>
          </p:cNvPr>
          <p:cNvSpPr/>
          <p:nvPr/>
        </p:nvSpPr>
        <p:spPr>
          <a:xfrm>
            <a:off x="2393027" y="6391968"/>
            <a:ext cx="1151890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400DB62-4B5A-4674-D949-5BF0A2910B9A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C258358-6EEE-9691-1957-3EF5915F9652}"/>
              </a:ext>
            </a:extLst>
          </p:cNvPr>
          <p:cNvSpPr txBox="1"/>
          <p:nvPr/>
        </p:nvSpPr>
        <p:spPr>
          <a:xfrm>
            <a:off x="397092" y="6441627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Research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AFD9E2B-8184-07B2-A51F-0301AB69BEAB}"/>
              </a:ext>
            </a:extLst>
          </p:cNvPr>
          <p:cNvSpPr txBox="1"/>
          <p:nvPr/>
        </p:nvSpPr>
        <p:spPr>
          <a:xfrm>
            <a:off x="2067459" y="6441730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C00000"/>
                </a:solidFill>
              </a:rPr>
              <a:t>Market Entry Strategy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21A642D-E8EB-4920-231F-4E309933B2BA}"/>
              </a:ext>
            </a:extLst>
          </p:cNvPr>
          <p:cNvSpPr txBox="1"/>
          <p:nvPr/>
        </p:nvSpPr>
        <p:spPr>
          <a:xfrm>
            <a:off x="4141781" y="6452763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Customer Value Proposi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9D42F95-D34C-E9A8-BBE0-C973C7487C50}"/>
              </a:ext>
            </a:extLst>
          </p:cNvPr>
          <p:cNvSpPr txBox="1"/>
          <p:nvPr/>
        </p:nvSpPr>
        <p:spPr>
          <a:xfrm>
            <a:off x="6623801" y="6460634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ing &amp; Promoti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8B90A17-850B-60E1-3D9D-68BD46629985}"/>
              </a:ext>
            </a:extLst>
          </p:cNvPr>
          <p:cNvSpPr txBox="1"/>
          <p:nvPr/>
        </p:nvSpPr>
        <p:spPr>
          <a:xfrm>
            <a:off x="8689690" y="6466465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Size &amp; Timelin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6CF215B-AD75-A524-A873-33151A47268B}"/>
              </a:ext>
            </a:extLst>
          </p:cNvPr>
          <p:cNvSpPr txBox="1"/>
          <p:nvPr/>
        </p:nvSpPr>
        <p:spPr>
          <a:xfrm>
            <a:off x="10293355" y="6452246"/>
            <a:ext cx="1239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Appendix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3C9DE9E-BAD1-AF66-F051-41863DB62193}"/>
              </a:ext>
            </a:extLst>
          </p:cNvPr>
          <p:cNvCxnSpPr>
            <a:cxnSpLocks/>
          </p:cNvCxnSpPr>
          <p:nvPr/>
        </p:nvCxnSpPr>
        <p:spPr>
          <a:xfrm>
            <a:off x="65660" y="6393717"/>
            <a:ext cx="1192396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0B33F26-1B61-51B0-2CE2-1B4BF45047F6}"/>
              </a:ext>
            </a:extLst>
          </p:cNvPr>
          <p:cNvCxnSpPr/>
          <p:nvPr/>
        </p:nvCxnSpPr>
        <p:spPr>
          <a:xfrm>
            <a:off x="16436" y="30410"/>
            <a:ext cx="0" cy="688115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2EF31D9-A443-12FB-B0A0-68A220A6C1AE}"/>
              </a:ext>
            </a:extLst>
          </p:cNvPr>
          <p:cNvCxnSpPr>
            <a:cxnSpLocks/>
          </p:cNvCxnSpPr>
          <p:nvPr/>
        </p:nvCxnSpPr>
        <p:spPr>
          <a:xfrm>
            <a:off x="12171651" y="0"/>
            <a:ext cx="0" cy="6932826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B5629D9-05E4-7470-6329-49A97F682A5E}"/>
              </a:ext>
            </a:extLst>
          </p:cNvPr>
          <p:cNvCxnSpPr>
            <a:cxnSpLocks/>
          </p:cNvCxnSpPr>
          <p:nvPr/>
        </p:nvCxnSpPr>
        <p:spPr>
          <a:xfrm flipH="1">
            <a:off x="11109" y="6841021"/>
            <a:ext cx="1216054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62250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CB0365C0-BF59-4B53-D36E-3A5614CC09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428" y="914470"/>
            <a:ext cx="2905248" cy="2682170"/>
          </a:xfrm>
          <a:prstGeom prst="rect">
            <a:avLst/>
          </a:prstGeom>
        </p:spPr>
      </p:pic>
      <p:sp>
        <p:nvSpPr>
          <p:cNvPr id="4" name="object 2">
            <a:extLst>
              <a:ext uri="{FF2B5EF4-FFF2-40B4-BE49-F238E27FC236}">
                <a16:creationId xmlns:a16="http://schemas.microsoft.com/office/drawing/2014/main" id="{DF46747E-93EB-B8F7-3937-DDBBBA345A88}"/>
              </a:ext>
            </a:extLst>
          </p:cNvPr>
          <p:cNvSpPr/>
          <p:nvPr/>
        </p:nvSpPr>
        <p:spPr>
          <a:xfrm>
            <a:off x="8295594" y="6385872"/>
            <a:ext cx="1393787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65">
            <a:extLst>
              <a:ext uri="{FF2B5EF4-FFF2-40B4-BE49-F238E27FC236}">
                <a16:creationId xmlns:a16="http://schemas.microsoft.com/office/drawing/2014/main" id="{258190DB-454F-4269-9F4F-335DE576171D}"/>
              </a:ext>
            </a:extLst>
          </p:cNvPr>
          <p:cNvSpPr txBox="1"/>
          <p:nvPr/>
        </p:nvSpPr>
        <p:spPr>
          <a:xfrm>
            <a:off x="88899" y="88867"/>
            <a:ext cx="10254993" cy="707886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40"/>
              </a:spcBef>
            </a:pPr>
            <a:r>
              <a:rPr lang="en-US" sz="2300" b="1">
                <a:latin typeface="Calibri"/>
                <a:cs typeface="Calibri"/>
              </a:rPr>
              <a:t>CUSTOMER VALUE PROPOSITION</a:t>
            </a:r>
            <a:endParaRPr lang="en-US" sz="23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r>
              <a:rPr lang="en-US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Introductory Menu of </a:t>
            </a:r>
            <a:r>
              <a:rPr lang="en-IN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L’Élégance du Passé and </a:t>
            </a:r>
            <a:r>
              <a:rPr lang="en-IN" sz="1600" i="1">
                <a:solidFill>
                  <a:srgbClr val="C00000"/>
                </a:solidFill>
                <a:latin typeface="Calibri"/>
                <a:cs typeface="Calibri"/>
              </a:rPr>
              <a:t>Culinary Experience </a:t>
            </a:r>
            <a:endParaRPr lang="en-US" sz="1600" i="1">
              <a:solidFill>
                <a:schemeClr val="bg1">
                  <a:lumMod val="6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40CE1E-E39D-4CD3-B9E7-E1AD78EFBCFA}"/>
              </a:ext>
            </a:extLst>
          </p:cNvPr>
          <p:cNvSpPr/>
          <p:nvPr/>
        </p:nvSpPr>
        <p:spPr>
          <a:xfrm>
            <a:off x="1" y="0"/>
            <a:ext cx="8564880" cy="1488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DECE78-9C16-4ABB-B0CA-E8D5AFDB56B9}"/>
              </a:ext>
            </a:extLst>
          </p:cNvPr>
          <p:cNvSpPr/>
          <p:nvPr/>
        </p:nvSpPr>
        <p:spPr>
          <a:xfrm>
            <a:off x="8565134" y="-436"/>
            <a:ext cx="3626865" cy="148867"/>
          </a:xfrm>
          <a:prstGeom prst="rect">
            <a:avLst/>
          </a:prstGeom>
          <a:solidFill>
            <a:srgbClr val="EA9689"/>
          </a:solidFill>
          <a:ln>
            <a:solidFill>
              <a:srgbClr val="EA96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4E69969-8F67-4E26-A760-5EB610D70B6A}"/>
              </a:ext>
            </a:extLst>
          </p:cNvPr>
          <p:cNvCxnSpPr>
            <a:cxnSpLocks/>
          </p:cNvCxnSpPr>
          <p:nvPr/>
        </p:nvCxnSpPr>
        <p:spPr>
          <a:xfrm>
            <a:off x="78739" y="857628"/>
            <a:ext cx="12001626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FC999DFA-0275-711D-8B87-5AA522920A9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842" y="912570"/>
            <a:ext cx="2905248" cy="26839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6030E22-8AE6-1C93-686B-2B89D68443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5687" y="912564"/>
            <a:ext cx="2905248" cy="268390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27A1061-157C-3FE9-9B11-25F4A9056E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611" y="914466"/>
            <a:ext cx="2905248" cy="2682173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9B9D613-49D8-6670-85D7-D3E05E8CFC77}"/>
              </a:ext>
            </a:extLst>
          </p:cNvPr>
          <p:cNvCxnSpPr>
            <a:cxnSpLocks/>
          </p:cNvCxnSpPr>
          <p:nvPr/>
        </p:nvCxnSpPr>
        <p:spPr>
          <a:xfrm flipH="1">
            <a:off x="104153" y="3675592"/>
            <a:ext cx="11929548" cy="0"/>
          </a:xfrm>
          <a:prstGeom prst="line">
            <a:avLst/>
          </a:prstGeom>
          <a:ln w="12192">
            <a:solidFill>
              <a:schemeClr val="bg1">
                <a:lumMod val="65000"/>
              </a:schemeClr>
            </a:solidFill>
            <a:prstDash val="lgDash"/>
          </a:ln>
        </p:spPr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44B40510-89EA-FAC2-BAED-F8D86346379B}"/>
              </a:ext>
            </a:extLst>
          </p:cNvPr>
          <p:cNvSpPr/>
          <p:nvPr/>
        </p:nvSpPr>
        <p:spPr>
          <a:xfrm>
            <a:off x="10810754" y="160006"/>
            <a:ext cx="1381246" cy="6483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4AAA0A0-ECFC-64CB-60A5-87D47E63E7E9}"/>
              </a:ext>
            </a:extLst>
          </p:cNvPr>
          <p:cNvSpPr/>
          <p:nvPr/>
        </p:nvSpPr>
        <p:spPr>
          <a:xfrm>
            <a:off x="69041" y="3766366"/>
            <a:ext cx="2981360" cy="286962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PRICING POLICY 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010CFE9-8F8F-E8E5-518B-5D593CCFB098}"/>
              </a:ext>
            </a:extLst>
          </p:cNvPr>
          <p:cNvSpPr txBox="1"/>
          <p:nvPr/>
        </p:nvSpPr>
        <p:spPr>
          <a:xfrm>
            <a:off x="827594" y="4077293"/>
            <a:ext cx="2129743" cy="3703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>
                <a:solidFill>
                  <a:schemeClr val="tx1">
                    <a:lumMod val="65000"/>
                    <a:lumOff val="35000"/>
                  </a:schemeClr>
                </a:solidFill>
              </a:rPr>
              <a:t>Luxury Restaurant</a:t>
            </a:r>
            <a:endParaRPr lang="en-IN" i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8D577B3-7B8B-9B58-1888-02D77A85D4AC}"/>
              </a:ext>
            </a:extLst>
          </p:cNvPr>
          <p:cNvCxnSpPr>
            <a:cxnSpLocks/>
          </p:cNvCxnSpPr>
          <p:nvPr/>
        </p:nvCxnSpPr>
        <p:spPr>
          <a:xfrm>
            <a:off x="3126049" y="3747622"/>
            <a:ext cx="0" cy="2595305"/>
          </a:xfrm>
          <a:prstGeom prst="line">
            <a:avLst/>
          </a:prstGeom>
          <a:ln w="12192">
            <a:solidFill>
              <a:schemeClr val="bg1">
                <a:lumMod val="65000"/>
              </a:schemeClr>
            </a:solidFill>
            <a:prstDash val="lgDash"/>
          </a:ln>
        </p:spPr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9CEFD141-BD3E-15A6-4044-B1C376D6F3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973" y="4033299"/>
            <a:ext cx="459442" cy="459442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7769E5AE-334B-307D-68D3-1A286CF2CBC5}"/>
              </a:ext>
            </a:extLst>
          </p:cNvPr>
          <p:cNvSpPr/>
          <p:nvPr/>
        </p:nvSpPr>
        <p:spPr>
          <a:xfrm>
            <a:off x="99648" y="4562608"/>
            <a:ext cx="2960451" cy="17803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300" i="1">
                <a:solidFill>
                  <a:srgbClr val="C00000"/>
                </a:solidFill>
              </a:rPr>
              <a:t>Premium pricing </a:t>
            </a:r>
            <a:r>
              <a:rPr lang="en-IN" sz="1300">
                <a:solidFill>
                  <a:schemeClr val="tx1"/>
                </a:solidFill>
              </a:rPr>
              <a:t>strategy to reflect exclusivity and sophisticati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300">
                <a:solidFill>
                  <a:schemeClr val="tx1"/>
                </a:solidFill>
              </a:rPr>
              <a:t>Dishes priced between </a:t>
            </a:r>
            <a:r>
              <a:rPr lang="en-IN" sz="1300" i="1">
                <a:solidFill>
                  <a:srgbClr val="C00000"/>
                </a:solidFill>
              </a:rPr>
              <a:t>18€-56€ for à la carte</a:t>
            </a:r>
            <a:r>
              <a:rPr lang="en-IN" sz="1300">
                <a:solidFill>
                  <a:schemeClr val="tx1"/>
                </a:solidFill>
              </a:rPr>
              <a:t> option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300">
                <a:solidFill>
                  <a:schemeClr val="tx1"/>
                </a:solidFill>
              </a:rPr>
              <a:t>Curated Tasting Menus available for </a:t>
            </a:r>
            <a:r>
              <a:rPr lang="en-IN" sz="1300" i="1">
                <a:solidFill>
                  <a:srgbClr val="C00000"/>
                </a:solidFill>
              </a:rPr>
              <a:t>3-course (95€) and 5-course (150 €)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60D44CF7-AFA8-48CB-D84B-F07C3FDF5A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6447" y="4630815"/>
            <a:ext cx="397397" cy="397397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40F943C-EA7B-933A-575B-222B8B19784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3613" y="5143136"/>
            <a:ext cx="397397" cy="42729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C3C1B5D-755A-56A9-E3D1-FB46A651430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3613" y="5712090"/>
            <a:ext cx="397397" cy="438873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DD26DABA-BCFC-209F-BC6E-13DBFAF01ADB}"/>
              </a:ext>
            </a:extLst>
          </p:cNvPr>
          <p:cNvSpPr/>
          <p:nvPr/>
        </p:nvSpPr>
        <p:spPr>
          <a:xfrm>
            <a:off x="3192641" y="3766366"/>
            <a:ext cx="8887724" cy="27261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TIMELESS JOURNEY THROUGH CULINARY ERAs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F0D7003-5919-80C8-E1FE-AE4EFA461C25}"/>
              </a:ext>
            </a:extLst>
          </p:cNvPr>
          <p:cNvSpPr txBox="1"/>
          <p:nvPr/>
        </p:nvSpPr>
        <p:spPr>
          <a:xfrm>
            <a:off x="4190046" y="4077293"/>
            <a:ext cx="2766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b="1" i="1"/>
              <a:t>Immersive Storytelling</a:t>
            </a:r>
            <a:endParaRPr lang="en-IN" sz="1400" b="1" i="1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F72633B-B202-DAA4-19FA-78937CCFCC5D}"/>
              </a:ext>
            </a:extLst>
          </p:cNvPr>
          <p:cNvSpPr txBox="1"/>
          <p:nvPr/>
        </p:nvSpPr>
        <p:spPr>
          <a:xfrm>
            <a:off x="3554988" y="4381426"/>
            <a:ext cx="40815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b="1"/>
              <a:t>Menu Narratives: </a:t>
            </a:r>
            <a:r>
              <a:rPr lang="en-US" sz="1200"/>
              <a:t>Each dish includes a </a:t>
            </a:r>
            <a:r>
              <a:rPr lang="en-US" sz="1200" i="1">
                <a:solidFill>
                  <a:srgbClr val="C00000"/>
                </a:solidFill>
              </a:rPr>
              <a:t>brief story about its historical significance</a:t>
            </a:r>
            <a:r>
              <a:rPr lang="en-US" sz="1200" i="1">
                <a:solidFill>
                  <a:srgbClr val="FF0000"/>
                </a:solidFill>
              </a:rPr>
              <a:t> </a:t>
            </a:r>
            <a:r>
              <a:rPr lang="en-US" sz="1200"/>
              <a:t>and evolution.</a:t>
            </a:r>
          </a:p>
          <a:p>
            <a:pPr algn="just"/>
            <a:r>
              <a:rPr lang="en-US" sz="1200" b="1"/>
              <a:t>Staff Engagement: </a:t>
            </a:r>
            <a:r>
              <a:rPr lang="en-US" sz="1200"/>
              <a:t>Servers trained to </a:t>
            </a:r>
            <a:r>
              <a:rPr lang="en-US" sz="1200" i="1">
                <a:solidFill>
                  <a:srgbClr val="C00000"/>
                </a:solidFill>
              </a:rPr>
              <a:t>share the origins of dishes</a:t>
            </a:r>
            <a:r>
              <a:rPr lang="en-US" sz="1200" i="1">
                <a:solidFill>
                  <a:srgbClr val="FF0000"/>
                </a:solidFill>
              </a:rPr>
              <a:t> </a:t>
            </a:r>
            <a:r>
              <a:rPr lang="en-US" sz="1200"/>
              <a:t>and provide pairing suggestions.</a:t>
            </a:r>
            <a:endParaRPr lang="en-IN" sz="120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8F72A5F-5479-9C4F-AACC-3F7E37DA44F5}"/>
              </a:ext>
            </a:extLst>
          </p:cNvPr>
          <p:cNvCxnSpPr>
            <a:cxnSpLocks/>
          </p:cNvCxnSpPr>
          <p:nvPr/>
        </p:nvCxnSpPr>
        <p:spPr>
          <a:xfrm>
            <a:off x="3267845" y="4359211"/>
            <a:ext cx="4267274" cy="0"/>
          </a:xfrm>
          <a:prstGeom prst="line">
            <a:avLst/>
          </a:prstGeom>
          <a:ln w="12192">
            <a:solidFill>
              <a:srgbClr val="EA9689"/>
            </a:solidFill>
          </a:ln>
        </p:spPr>
      </p:cxnSp>
      <p:pic>
        <p:nvPicPr>
          <p:cNvPr id="45" name="Picture 44">
            <a:extLst>
              <a:ext uri="{FF2B5EF4-FFF2-40B4-BE49-F238E27FC236}">
                <a16:creationId xmlns:a16="http://schemas.microsoft.com/office/drawing/2014/main" id="{76D49287-9A37-78E6-7EC0-7E3314FDE7E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28811" y="4443445"/>
            <a:ext cx="374741" cy="27261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778C3983-F013-EFA8-C30D-08AC1CD610C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11097" y="4763681"/>
            <a:ext cx="381000" cy="381000"/>
          </a:xfrm>
          <a:prstGeom prst="rect">
            <a:avLst/>
          </a:prstGeom>
        </p:spPr>
      </p:pic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F233744-BB57-C115-C3A2-4EB62217C3DD}"/>
              </a:ext>
            </a:extLst>
          </p:cNvPr>
          <p:cNvCxnSpPr>
            <a:cxnSpLocks/>
          </p:cNvCxnSpPr>
          <p:nvPr/>
        </p:nvCxnSpPr>
        <p:spPr>
          <a:xfrm>
            <a:off x="7664411" y="4149704"/>
            <a:ext cx="0" cy="2108856"/>
          </a:xfrm>
          <a:prstGeom prst="line">
            <a:avLst/>
          </a:prstGeom>
          <a:ln w="12192">
            <a:solidFill>
              <a:srgbClr val="EA9689"/>
            </a:solidFill>
          </a:ln>
        </p:spPr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4AE3120A-A986-63B7-45BE-DECB5E9EF890}"/>
              </a:ext>
            </a:extLst>
          </p:cNvPr>
          <p:cNvSpPr txBox="1"/>
          <p:nvPr/>
        </p:nvSpPr>
        <p:spPr>
          <a:xfrm>
            <a:off x="8558704" y="4073649"/>
            <a:ext cx="2766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US" sz="1400" b="1" i="1"/>
              <a:t>Personalized Touches</a:t>
            </a:r>
            <a:endParaRPr lang="en-IN" sz="1400" b="1" i="1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B6FF2BA-0AB2-C682-0EA8-49360189BE15}"/>
              </a:ext>
            </a:extLst>
          </p:cNvPr>
          <p:cNvCxnSpPr>
            <a:cxnSpLocks/>
          </p:cNvCxnSpPr>
          <p:nvPr/>
        </p:nvCxnSpPr>
        <p:spPr>
          <a:xfrm>
            <a:off x="7798308" y="4361136"/>
            <a:ext cx="4267274" cy="0"/>
          </a:xfrm>
          <a:prstGeom prst="line">
            <a:avLst/>
          </a:prstGeom>
          <a:ln w="12192">
            <a:solidFill>
              <a:srgbClr val="EA9689"/>
            </a:solidFill>
          </a:ln>
        </p:spPr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7A88F1E2-63F0-6512-F9F1-6C7FAD316E8D}"/>
              </a:ext>
            </a:extLst>
          </p:cNvPr>
          <p:cNvSpPr txBox="1"/>
          <p:nvPr/>
        </p:nvSpPr>
        <p:spPr>
          <a:xfrm>
            <a:off x="8054119" y="4390218"/>
            <a:ext cx="40528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b="1"/>
              <a:t>Chef’s Table</a:t>
            </a:r>
            <a:r>
              <a:rPr lang="en-US" sz="1200" b="1">
                <a:solidFill>
                  <a:srgbClr val="C00000"/>
                </a:solidFill>
              </a:rPr>
              <a:t>: </a:t>
            </a:r>
            <a:r>
              <a:rPr lang="en-US" sz="1200" i="1">
                <a:solidFill>
                  <a:srgbClr val="C00000"/>
                </a:solidFill>
              </a:rPr>
              <a:t>Exclusive seating</a:t>
            </a:r>
            <a:r>
              <a:rPr lang="en-US" sz="1200" i="1">
                <a:solidFill>
                  <a:srgbClr val="FF0000"/>
                </a:solidFill>
              </a:rPr>
              <a:t> </a:t>
            </a:r>
            <a:r>
              <a:rPr lang="en-US" sz="1200"/>
              <a:t>where guests can interact with chefs and watch their meals being prepared.</a:t>
            </a:r>
          </a:p>
          <a:p>
            <a:pPr algn="just"/>
            <a:r>
              <a:rPr lang="en-US" sz="1200" b="1"/>
              <a:t>Personalization: </a:t>
            </a:r>
            <a:r>
              <a:rPr lang="en-US" sz="1200" i="1">
                <a:solidFill>
                  <a:srgbClr val="C00000"/>
                </a:solidFill>
              </a:rPr>
              <a:t>Personalized notes or gifts </a:t>
            </a:r>
            <a:r>
              <a:rPr lang="en-US" sz="1200"/>
              <a:t>like historical recipe booklets.</a:t>
            </a:r>
            <a:endParaRPr lang="en-IN" sz="1200"/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261ED6F1-9174-54B2-04AC-435BB76F420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17997" y="4769331"/>
            <a:ext cx="383513" cy="418821"/>
          </a:xfrm>
          <a:prstGeom prst="rect">
            <a:avLst/>
          </a:prstGeom>
        </p:spPr>
      </p:pic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2665E25-4F9F-AFAE-255A-75E455FF3457}"/>
              </a:ext>
            </a:extLst>
          </p:cNvPr>
          <p:cNvCxnSpPr>
            <a:cxnSpLocks/>
          </p:cNvCxnSpPr>
          <p:nvPr/>
        </p:nvCxnSpPr>
        <p:spPr>
          <a:xfrm>
            <a:off x="3267845" y="5243131"/>
            <a:ext cx="4267274" cy="0"/>
          </a:xfrm>
          <a:prstGeom prst="line">
            <a:avLst/>
          </a:prstGeom>
          <a:ln w="12192">
            <a:solidFill>
              <a:srgbClr val="EA9689"/>
            </a:solidFill>
          </a:ln>
        </p:spPr>
      </p:cxnSp>
      <p:pic>
        <p:nvPicPr>
          <p:cNvPr id="61" name="Picture 60">
            <a:extLst>
              <a:ext uri="{FF2B5EF4-FFF2-40B4-BE49-F238E27FC236}">
                <a16:creationId xmlns:a16="http://schemas.microsoft.com/office/drawing/2014/main" id="{10BBC088-00B6-FB4C-281B-B7EDE0545EE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716792" y="4375902"/>
            <a:ext cx="363523" cy="363523"/>
          </a:xfrm>
          <a:prstGeom prst="rect">
            <a:avLst/>
          </a:prstGeom>
        </p:spPr>
      </p:pic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1C1FFB2-3E5D-E68B-A760-1FB0500C579D}"/>
              </a:ext>
            </a:extLst>
          </p:cNvPr>
          <p:cNvCxnSpPr>
            <a:cxnSpLocks/>
          </p:cNvCxnSpPr>
          <p:nvPr/>
        </p:nvCxnSpPr>
        <p:spPr>
          <a:xfrm>
            <a:off x="7777988" y="5245056"/>
            <a:ext cx="4267274" cy="0"/>
          </a:xfrm>
          <a:prstGeom prst="line">
            <a:avLst/>
          </a:prstGeom>
          <a:ln w="12192">
            <a:solidFill>
              <a:srgbClr val="EA9689"/>
            </a:solidFill>
          </a:ln>
        </p:spPr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03974B3A-8604-EAC7-4F16-A3124FD425E7}"/>
              </a:ext>
            </a:extLst>
          </p:cNvPr>
          <p:cNvSpPr txBox="1"/>
          <p:nvPr/>
        </p:nvSpPr>
        <p:spPr>
          <a:xfrm>
            <a:off x="4184824" y="5262369"/>
            <a:ext cx="2766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en-US" sz="1400" b="1" i="1"/>
              <a:t>Seamless Service</a:t>
            </a:r>
            <a:endParaRPr lang="en-IN" sz="1400" b="1" i="1"/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B2EFC71-30FB-2B8D-3552-577D8B7884E4}"/>
              </a:ext>
            </a:extLst>
          </p:cNvPr>
          <p:cNvCxnSpPr>
            <a:cxnSpLocks/>
          </p:cNvCxnSpPr>
          <p:nvPr/>
        </p:nvCxnSpPr>
        <p:spPr>
          <a:xfrm>
            <a:off x="3267845" y="5547931"/>
            <a:ext cx="4267274" cy="0"/>
          </a:xfrm>
          <a:prstGeom prst="line">
            <a:avLst/>
          </a:prstGeom>
          <a:ln w="12192">
            <a:solidFill>
              <a:srgbClr val="EA9689"/>
            </a:solidFill>
          </a:ln>
        </p:spPr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B483D8F5-03FC-120A-E91B-D4F99F42F9AA}"/>
              </a:ext>
            </a:extLst>
          </p:cNvPr>
          <p:cNvSpPr txBox="1"/>
          <p:nvPr/>
        </p:nvSpPr>
        <p:spPr>
          <a:xfrm>
            <a:off x="3603554" y="5551633"/>
            <a:ext cx="39269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N" sz="1200" b="1"/>
              <a:t>Efficient Reservations:</a:t>
            </a:r>
            <a:r>
              <a:rPr lang="en-IN" sz="1200"/>
              <a:t> </a:t>
            </a:r>
            <a:r>
              <a:rPr lang="en-IN" sz="1200" i="1">
                <a:solidFill>
                  <a:srgbClr val="C00000"/>
                </a:solidFill>
              </a:rPr>
              <a:t>Online and app-based bookings</a:t>
            </a:r>
            <a:r>
              <a:rPr lang="en-IN" sz="1200"/>
              <a:t> with real-time updates.  </a:t>
            </a:r>
          </a:p>
          <a:p>
            <a:pPr algn="just"/>
            <a:r>
              <a:rPr lang="en-IN" sz="1200" b="1"/>
              <a:t>Staff Training: </a:t>
            </a:r>
            <a:r>
              <a:rPr lang="en-IN" sz="1200" i="1">
                <a:solidFill>
                  <a:srgbClr val="C00000"/>
                </a:solidFill>
              </a:rPr>
              <a:t>18</a:t>
            </a:r>
            <a:r>
              <a:rPr lang="en-IN" sz="1200" i="1" baseline="30000">
                <a:solidFill>
                  <a:srgbClr val="C00000"/>
                </a:solidFill>
              </a:rPr>
              <a:t>th</a:t>
            </a:r>
            <a:r>
              <a:rPr lang="en-IN" sz="1200" i="1">
                <a:solidFill>
                  <a:srgbClr val="C00000"/>
                </a:solidFill>
              </a:rPr>
              <a:t> Century Traditional Attire </a:t>
            </a:r>
            <a:r>
              <a:rPr lang="en-IN" sz="1200"/>
              <a:t>of Service Staff with </a:t>
            </a:r>
            <a:r>
              <a:rPr lang="en-IN" sz="1200" i="1">
                <a:solidFill>
                  <a:srgbClr val="C00000"/>
                </a:solidFill>
              </a:rPr>
              <a:t>Tricorn Hats and wigs.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A875FEA-8514-8930-EADB-2F442BF6B1C1}"/>
              </a:ext>
            </a:extLst>
          </p:cNvPr>
          <p:cNvSpPr txBox="1"/>
          <p:nvPr/>
        </p:nvSpPr>
        <p:spPr>
          <a:xfrm>
            <a:off x="8609608" y="5262369"/>
            <a:ext cx="2766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4"/>
            </a:pPr>
            <a:r>
              <a:rPr lang="en-US" sz="1400" b="1" i="1"/>
              <a:t>Guest Feedback Loop</a:t>
            </a:r>
            <a:endParaRPr lang="en-IN" sz="1400" b="1" i="1"/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DBD13F7-4116-2614-FCA3-C9C1A5B11EC5}"/>
              </a:ext>
            </a:extLst>
          </p:cNvPr>
          <p:cNvCxnSpPr>
            <a:cxnSpLocks/>
          </p:cNvCxnSpPr>
          <p:nvPr/>
        </p:nvCxnSpPr>
        <p:spPr>
          <a:xfrm>
            <a:off x="7777988" y="5549856"/>
            <a:ext cx="4267274" cy="0"/>
          </a:xfrm>
          <a:prstGeom prst="line">
            <a:avLst/>
          </a:prstGeom>
          <a:ln w="12192">
            <a:solidFill>
              <a:srgbClr val="EA9689"/>
            </a:solidFill>
          </a:ln>
        </p:spPr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FE63D47B-FAA3-8194-E952-F347761127B5}"/>
              </a:ext>
            </a:extLst>
          </p:cNvPr>
          <p:cNvSpPr txBox="1"/>
          <p:nvPr/>
        </p:nvSpPr>
        <p:spPr>
          <a:xfrm>
            <a:off x="8054119" y="5533875"/>
            <a:ext cx="4038233" cy="897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650"/>
              </a:lnSpc>
            </a:pPr>
            <a:r>
              <a:rPr lang="en-US" sz="1200" b="1" i="0">
                <a:solidFill>
                  <a:srgbClr val="001D35"/>
                </a:solidFill>
                <a:effectLst/>
                <a:latin typeface="Google Sans"/>
              </a:rPr>
              <a:t>Feedback kiosks</a:t>
            </a:r>
            <a:r>
              <a:rPr lang="en-US" sz="1200">
                <a:solidFill>
                  <a:srgbClr val="001D35"/>
                </a:solidFill>
                <a:latin typeface="Google Sans"/>
              </a:rPr>
              <a:t>: </a:t>
            </a:r>
            <a:r>
              <a:rPr lang="en-US" sz="1200" b="0" i="0">
                <a:effectLst/>
                <a:latin typeface="Google Sans"/>
              </a:rPr>
              <a:t>Place </a:t>
            </a:r>
            <a:r>
              <a:rPr lang="en-US" sz="1200" b="0" i="1">
                <a:solidFill>
                  <a:srgbClr val="C00000"/>
                </a:solidFill>
                <a:effectLst/>
                <a:latin typeface="Google Sans"/>
              </a:rPr>
              <a:t>kiosks near the restaurant exit </a:t>
            </a:r>
            <a:r>
              <a:rPr lang="en-US" sz="1200" b="0" i="0">
                <a:effectLst/>
                <a:latin typeface="Google Sans"/>
              </a:rPr>
              <a:t>and make them fun to encourage customers to leave feedback. </a:t>
            </a:r>
            <a:endParaRPr lang="en-US" sz="1200"/>
          </a:p>
          <a:p>
            <a:pPr algn="just"/>
            <a:r>
              <a:rPr lang="en-US" sz="1200" b="1"/>
              <a:t>Incentives:</a:t>
            </a:r>
            <a:r>
              <a:rPr lang="en-US" sz="1200"/>
              <a:t> </a:t>
            </a:r>
            <a:r>
              <a:rPr lang="en-US" sz="1200" i="1">
                <a:solidFill>
                  <a:srgbClr val="C00000"/>
                </a:solidFill>
              </a:rPr>
              <a:t>Discounts on future visits </a:t>
            </a:r>
            <a:r>
              <a:rPr lang="en-US" sz="1200"/>
              <a:t>or entry into raffles for sharing detailed reviews.</a:t>
            </a:r>
            <a:endParaRPr lang="en-IN" sz="1200"/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CC3B4B56-86FC-552E-B5B8-5024F11D4ED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235022" y="5585591"/>
            <a:ext cx="380999" cy="351537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2E9AAA02-9E5E-7C8B-2EFC-D383A00E607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269638" y="6008872"/>
            <a:ext cx="346383" cy="346383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3FC3F9E7-21A1-9096-000F-A1FCA349F0C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698753" y="6000348"/>
            <a:ext cx="422616" cy="346383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2435B230-6B2F-5735-4571-E8CBC7B572DA}"/>
              </a:ext>
            </a:extLst>
          </p:cNvPr>
          <p:cNvSpPr/>
          <p:nvPr/>
        </p:nvSpPr>
        <p:spPr>
          <a:xfrm>
            <a:off x="0" y="6368245"/>
            <a:ext cx="12192000" cy="5027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80" name="object 81">
            <a:extLst>
              <a:ext uri="{FF2B5EF4-FFF2-40B4-BE49-F238E27FC236}">
                <a16:creationId xmlns:a16="http://schemas.microsoft.com/office/drawing/2014/main" id="{A3616311-7239-317F-419D-2362B73EEB22}"/>
              </a:ext>
            </a:extLst>
          </p:cNvPr>
          <p:cNvSpPr txBox="1">
            <a:spLocks/>
          </p:cNvSpPr>
          <p:nvPr/>
        </p:nvSpPr>
        <p:spPr>
          <a:xfrm>
            <a:off x="11732386" y="650354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US" spc="-50"/>
              <a:t>3</a:t>
            </a:r>
            <a:endParaRPr lang="en-IN" spc="-50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653AB0E-DE98-4E6C-C954-A42FD9270763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82" name="object 2">
            <a:extLst>
              <a:ext uri="{FF2B5EF4-FFF2-40B4-BE49-F238E27FC236}">
                <a16:creationId xmlns:a16="http://schemas.microsoft.com/office/drawing/2014/main" id="{85E09DF5-5809-83BB-9AF5-B65813F94919}"/>
              </a:ext>
            </a:extLst>
          </p:cNvPr>
          <p:cNvSpPr/>
          <p:nvPr/>
        </p:nvSpPr>
        <p:spPr>
          <a:xfrm>
            <a:off x="4652357" y="6391968"/>
            <a:ext cx="1151890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93F8EFEB-3433-9A72-1925-6E3EE92F2C59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4484D7E-2B85-C881-92BC-8F351551A802}"/>
              </a:ext>
            </a:extLst>
          </p:cNvPr>
          <p:cNvSpPr txBox="1"/>
          <p:nvPr/>
        </p:nvSpPr>
        <p:spPr>
          <a:xfrm>
            <a:off x="397092" y="6441627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Research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9F704BF-7D55-6BFC-B4E0-C96048145C74}"/>
              </a:ext>
            </a:extLst>
          </p:cNvPr>
          <p:cNvSpPr txBox="1"/>
          <p:nvPr/>
        </p:nvSpPr>
        <p:spPr>
          <a:xfrm>
            <a:off x="2067459" y="6441730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Entry Strategy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C5536CB-9C36-2473-3194-0FCE5A46EB17}"/>
              </a:ext>
            </a:extLst>
          </p:cNvPr>
          <p:cNvSpPr txBox="1"/>
          <p:nvPr/>
        </p:nvSpPr>
        <p:spPr>
          <a:xfrm>
            <a:off x="4141781" y="6452763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C00000"/>
                </a:solidFill>
              </a:rPr>
              <a:t>Customer Value Proposition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48F4225B-82E7-A24B-0916-A49ABCFF716A}"/>
              </a:ext>
            </a:extLst>
          </p:cNvPr>
          <p:cNvSpPr txBox="1"/>
          <p:nvPr/>
        </p:nvSpPr>
        <p:spPr>
          <a:xfrm>
            <a:off x="6623801" y="6460634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ing &amp; Promotion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3BED791-4FEE-AEAB-D24A-140E6D7D6B3E}"/>
              </a:ext>
            </a:extLst>
          </p:cNvPr>
          <p:cNvSpPr txBox="1"/>
          <p:nvPr/>
        </p:nvSpPr>
        <p:spPr>
          <a:xfrm>
            <a:off x="8689690" y="6466465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Size &amp; Timeline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4F8ECE25-5450-6038-F63E-B06C3CCFB59E}"/>
              </a:ext>
            </a:extLst>
          </p:cNvPr>
          <p:cNvSpPr txBox="1"/>
          <p:nvPr/>
        </p:nvSpPr>
        <p:spPr>
          <a:xfrm>
            <a:off x="10293355" y="6452246"/>
            <a:ext cx="1239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Appendix</a:t>
            </a: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F2F0FF02-CE1F-E149-9CB9-9CF677746BB6}"/>
              </a:ext>
            </a:extLst>
          </p:cNvPr>
          <p:cNvCxnSpPr>
            <a:cxnSpLocks/>
          </p:cNvCxnSpPr>
          <p:nvPr/>
        </p:nvCxnSpPr>
        <p:spPr>
          <a:xfrm>
            <a:off x="69041" y="6392603"/>
            <a:ext cx="1192396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Picture 96">
            <a:extLst>
              <a:ext uri="{FF2B5EF4-FFF2-40B4-BE49-F238E27FC236}">
                <a16:creationId xmlns:a16="http://schemas.microsoft.com/office/drawing/2014/main" id="{ABB6B557-2A67-5794-C6FA-F96419DC5D9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9749" y="211373"/>
            <a:ext cx="601441" cy="56606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D076F5E-5823-C9CB-62AD-EE753603E134}"/>
              </a:ext>
            </a:extLst>
          </p:cNvPr>
          <p:cNvSpPr/>
          <p:nvPr/>
        </p:nvSpPr>
        <p:spPr>
          <a:xfrm>
            <a:off x="123124" y="4562608"/>
            <a:ext cx="2927277" cy="1737607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0920831-764E-E6B8-DB87-A9BC993D6B2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716792" y="5598816"/>
            <a:ext cx="380018" cy="38001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88A4888-58AA-3A51-F665-7E377473632A}"/>
              </a:ext>
            </a:extLst>
          </p:cNvPr>
          <p:cNvCxnSpPr/>
          <p:nvPr/>
        </p:nvCxnSpPr>
        <p:spPr>
          <a:xfrm>
            <a:off x="16436" y="30410"/>
            <a:ext cx="0" cy="688115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DE42D3-BA77-8932-CF4D-84A04EA2B0F1}"/>
              </a:ext>
            </a:extLst>
          </p:cNvPr>
          <p:cNvCxnSpPr>
            <a:cxnSpLocks/>
          </p:cNvCxnSpPr>
          <p:nvPr/>
        </p:nvCxnSpPr>
        <p:spPr>
          <a:xfrm>
            <a:off x="12171651" y="0"/>
            <a:ext cx="0" cy="6932826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36228D4-893E-CB51-0939-E2A2864D011D}"/>
              </a:ext>
            </a:extLst>
          </p:cNvPr>
          <p:cNvCxnSpPr>
            <a:cxnSpLocks/>
          </p:cNvCxnSpPr>
          <p:nvPr/>
        </p:nvCxnSpPr>
        <p:spPr>
          <a:xfrm flipH="1">
            <a:off x="11109" y="6841021"/>
            <a:ext cx="12095879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5911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7E4B12-8CC5-EF20-CF15-3AF586F4CF7D}"/>
              </a:ext>
            </a:extLst>
          </p:cNvPr>
          <p:cNvSpPr/>
          <p:nvPr/>
        </p:nvSpPr>
        <p:spPr>
          <a:xfrm>
            <a:off x="100662" y="911138"/>
            <a:ext cx="6108273" cy="26974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>
                <a:solidFill>
                  <a:schemeClr val="bg1"/>
                </a:solidFill>
              </a:rPr>
              <a:t>UNVEILING OUR BRAND ICON</a:t>
            </a:r>
            <a:endParaRPr lang="en-US" sz="1400" b="1">
              <a:solidFill>
                <a:schemeClr val="bg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9816469-64A9-CD5E-23D2-BA235C752B62}"/>
              </a:ext>
            </a:extLst>
          </p:cNvPr>
          <p:cNvCxnSpPr>
            <a:cxnSpLocks/>
          </p:cNvCxnSpPr>
          <p:nvPr/>
        </p:nvCxnSpPr>
        <p:spPr>
          <a:xfrm flipH="1">
            <a:off x="100662" y="3032640"/>
            <a:ext cx="6228696" cy="0"/>
          </a:xfrm>
          <a:prstGeom prst="line">
            <a:avLst/>
          </a:prstGeom>
          <a:ln w="12700">
            <a:solidFill>
              <a:srgbClr val="FA534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83A372D-3C63-1FEE-9D5A-408AB3AF1FCF}"/>
              </a:ext>
            </a:extLst>
          </p:cNvPr>
          <p:cNvCxnSpPr/>
          <p:nvPr/>
        </p:nvCxnSpPr>
        <p:spPr>
          <a:xfrm>
            <a:off x="1027828" y="1192142"/>
            <a:ext cx="0" cy="1473322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Pierre Gagnaire - Sa bio et toute son actualité - Elle">
            <a:extLst>
              <a:ext uri="{FF2B5EF4-FFF2-40B4-BE49-F238E27FC236}">
                <a16:creationId xmlns:a16="http://schemas.microsoft.com/office/drawing/2014/main" id="{1313824E-5291-6399-9F29-64D3B10E40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6744" y="1368554"/>
            <a:ext cx="1007265" cy="1295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12A3200-35D2-41D6-89BF-DD15B4304911}"/>
              </a:ext>
            </a:extLst>
          </p:cNvPr>
          <p:cNvSpPr txBox="1"/>
          <p:nvPr/>
        </p:nvSpPr>
        <p:spPr>
          <a:xfrm>
            <a:off x="1919253" y="2581989"/>
            <a:ext cx="14857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 i="1"/>
              <a:t>Pierre Gagnaire</a:t>
            </a:r>
            <a:endParaRPr lang="en-US" sz="1400" b="1" i="1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F1B4BC4-A503-E681-0B03-EB7DD10CB4CF}"/>
              </a:ext>
            </a:extLst>
          </p:cNvPr>
          <p:cNvCxnSpPr>
            <a:cxnSpLocks/>
          </p:cNvCxnSpPr>
          <p:nvPr/>
        </p:nvCxnSpPr>
        <p:spPr>
          <a:xfrm>
            <a:off x="78361" y="1974913"/>
            <a:ext cx="1923478" cy="13951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BFEB425-8236-71FA-4356-E3FA6CE50EEB}"/>
              </a:ext>
            </a:extLst>
          </p:cNvPr>
          <p:cNvGrpSpPr/>
          <p:nvPr/>
        </p:nvGrpSpPr>
        <p:grpSpPr>
          <a:xfrm>
            <a:off x="799228" y="1685916"/>
            <a:ext cx="487519" cy="485775"/>
            <a:chOff x="826930" y="1869725"/>
            <a:chExt cx="870331" cy="811021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53B43C0-A272-B53F-1396-E1CC194C3BB5}"/>
                </a:ext>
              </a:extLst>
            </p:cNvPr>
            <p:cNvSpPr/>
            <p:nvPr/>
          </p:nvSpPr>
          <p:spPr>
            <a:xfrm>
              <a:off x="826930" y="1869725"/>
              <a:ext cx="870331" cy="811021"/>
            </a:xfrm>
            <a:prstGeom prst="ellipse">
              <a:avLst/>
            </a:prstGeom>
            <a:solidFill>
              <a:srgbClr val="78000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D560010-F164-2722-00F2-E0C002A1F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2841" y="1955981"/>
              <a:ext cx="638508" cy="638508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C9C12411-BCF5-4C33-A630-054458EA8580}"/>
              </a:ext>
            </a:extLst>
          </p:cNvPr>
          <p:cNvSpPr txBox="1"/>
          <p:nvPr/>
        </p:nvSpPr>
        <p:spPr>
          <a:xfrm>
            <a:off x="829123" y="2136293"/>
            <a:ext cx="4875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/>
              <a:t>Wh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0F1492B-DDBD-DEA7-23E2-5E02AEB08098}"/>
              </a:ext>
            </a:extLst>
          </p:cNvPr>
          <p:cNvGrpSpPr/>
          <p:nvPr/>
        </p:nvGrpSpPr>
        <p:grpSpPr>
          <a:xfrm>
            <a:off x="-48838" y="1318075"/>
            <a:ext cx="1044202" cy="676908"/>
            <a:chOff x="-97654" y="1556213"/>
            <a:chExt cx="1044202" cy="676908"/>
          </a:xfrm>
        </p:grpSpPr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F775893D-798E-371D-DA69-728058EF35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754" y="1556213"/>
              <a:ext cx="319526" cy="349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866C39C-D484-EB5B-BC35-AA48A8ABD7A7}"/>
                </a:ext>
              </a:extLst>
            </p:cNvPr>
            <p:cNvSpPr txBox="1"/>
            <p:nvPr/>
          </p:nvSpPr>
          <p:spPr>
            <a:xfrm>
              <a:off x="-97654" y="1863789"/>
              <a:ext cx="1044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rgbClr val="C00000"/>
                  </a:solidFill>
                </a:rPr>
                <a:t>14</a:t>
              </a:r>
              <a:r>
                <a:rPr lang="en-US" sz="800"/>
                <a:t> Michelin Star Rated</a:t>
              </a:r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4C4DC804-2D18-5807-C484-AFC424C9D4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59546" y="1280707"/>
            <a:ext cx="380520" cy="38052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51FC48B9-C8AF-0004-60EB-5C3F64F82A70}"/>
              </a:ext>
            </a:extLst>
          </p:cNvPr>
          <p:cNvSpPr txBox="1"/>
          <p:nvPr/>
        </p:nvSpPr>
        <p:spPr>
          <a:xfrm>
            <a:off x="1238725" y="1651930"/>
            <a:ext cx="7631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Gastronomic Excellence</a:t>
            </a:r>
            <a:endParaRPr lang="en-US" sz="8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5E20512-3D5F-817A-B243-402162F5FF95}"/>
              </a:ext>
            </a:extLst>
          </p:cNvPr>
          <p:cNvSpPr txBox="1"/>
          <p:nvPr/>
        </p:nvSpPr>
        <p:spPr>
          <a:xfrm>
            <a:off x="148037" y="2496187"/>
            <a:ext cx="7135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/>
              <a:t>Parisian Connection</a:t>
            </a:r>
            <a:endParaRPr lang="en-US" sz="80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51B32707-76CA-CDF8-0AE3-71B4ACAE0F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9762" y="2088830"/>
            <a:ext cx="420334" cy="42033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D16438B-3580-7D5E-69EC-0F0B6FAC45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75877" y="2070827"/>
            <a:ext cx="425360" cy="42536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695EF1E0-8A05-E04E-4BF0-7A772E43B017}"/>
              </a:ext>
            </a:extLst>
          </p:cNvPr>
          <p:cNvSpPr txBox="1"/>
          <p:nvPr/>
        </p:nvSpPr>
        <p:spPr>
          <a:xfrm>
            <a:off x="1257860" y="2520953"/>
            <a:ext cx="6613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/>
              <a:t>Trust and Credibility</a:t>
            </a:r>
            <a:endParaRPr lang="en-US" sz="80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CA0A3A68-0A66-2B81-A351-A800A6D271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24839" y="1311401"/>
            <a:ext cx="494375" cy="49437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13D58906-527F-33D0-1C03-4BA33468A0F7}"/>
              </a:ext>
            </a:extLst>
          </p:cNvPr>
          <p:cNvSpPr/>
          <p:nvPr/>
        </p:nvSpPr>
        <p:spPr>
          <a:xfrm>
            <a:off x="3336147" y="1829183"/>
            <a:ext cx="1327171" cy="9792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Positioning the restaurant as a tribute to fine dining's artistry, </a:t>
            </a:r>
            <a:r>
              <a:rPr lang="en-US" sz="900" b="1" i="1">
                <a:solidFill>
                  <a:schemeClr val="tx1"/>
                </a:solidFill>
              </a:rPr>
              <a:t>Pierre Gagnaire </a:t>
            </a:r>
            <a:r>
              <a:rPr lang="en-US" sz="900">
                <a:solidFill>
                  <a:schemeClr val="tx1"/>
                </a:solidFill>
              </a:rPr>
              <a:t>stands as the perfect ambassador for this mission.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EDA59037-772E-8F2C-9ACE-54E07BA1D9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44497" y="1309882"/>
            <a:ext cx="453318" cy="445561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99A73D08-8167-8DB1-BC5C-716E22CD14F3}"/>
              </a:ext>
            </a:extLst>
          </p:cNvPr>
          <p:cNvSpPr/>
          <p:nvPr/>
        </p:nvSpPr>
        <p:spPr>
          <a:xfrm>
            <a:off x="4875079" y="1846926"/>
            <a:ext cx="1327171" cy="97674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>
                <a:solidFill>
                  <a:schemeClr val="tx1"/>
                </a:solidFill>
              </a:rPr>
              <a:t>A partnership could help preserve his legacy by associating his name with </a:t>
            </a:r>
            <a:r>
              <a:rPr lang="en-IN" sz="900" b="1" i="1">
                <a:solidFill>
                  <a:schemeClr val="tx1"/>
                </a:solidFill>
              </a:rPr>
              <a:t>emerging excellence</a:t>
            </a:r>
            <a:r>
              <a:rPr lang="en-IN" sz="900"/>
              <a:t>.</a:t>
            </a: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1E86DB9-3D2E-5F99-ABAE-E8DA566B682B}"/>
              </a:ext>
            </a:extLst>
          </p:cNvPr>
          <p:cNvSpPr/>
          <p:nvPr/>
        </p:nvSpPr>
        <p:spPr>
          <a:xfrm>
            <a:off x="1971072" y="1288196"/>
            <a:ext cx="1285875" cy="1644431"/>
          </a:xfrm>
          <a:prstGeom prst="rect">
            <a:avLst/>
          </a:prstGeom>
          <a:noFill/>
          <a:ln w="57150" cap="flat" cmpd="sng" algn="ctr">
            <a:solidFill>
              <a:srgbClr val="0030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D7DC09E4-A3F2-9AE3-7E89-8CE0049E58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66566" y="1280707"/>
            <a:ext cx="593693" cy="521046"/>
          </a:xfrm>
          <a:prstGeom prst="rect">
            <a:avLst/>
          </a:prstGeom>
        </p:spPr>
      </p:pic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B56C62E-BF55-04F8-810F-D49F80E9108D}"/>
              </a:ext>
            </a:extLst>
          </p:cNvPr>
          <p:cNvCxnSpPr>
            <a:cxnSpLocks/>
          </p:cNvCxnSpPr>
          <p:nvPr/>
        </p:nvCxnSpPr>
        <p:spPr>
          <a:xfrm>
            <a:off x="6329358" y="957810"/>
            <a:ext cx="0" cy="2074830"/>
          </a:xfrm>
          <a:prstGeom prst="line">
            <a:avLst/>
          </a:prstGeom>
          <a:ln w="12700">
            <a:solidFill>
              <a:srgbClr val="FA534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4F8A1AA9-1F55-2FEB-4A02-600B4DBCA676}"/>
              </a:ext>
            </a:extLst>
          </p:cNvPr>
          <p:cNvSpPr/>
          <p:nvPr/>
        </p:nvSpPr>
        <p:spPr>
          <a:xfrm>
            <a:off x="6470101" y="915045"/>
            <a:ext cx="5627835" cy="2632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CULINARY EXCELLENCE SCHOLARSHIP PROGRAM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3BCE8663-A4B9-547B-C587-47F3245AF32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10" t="43281" r="41856" b="20987"/>
          <a:stretch/>
        </p:blipFill>
        <p:spPr>
          <a:xfrm>
            <a:off x="10309859" y="1309882"/>
            <a:ext cx="1627067" cy="1620739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cxnSp>
        <p:nvCxnSpPr>
          <p:cNvPr id="1051" name="Straight Connector 1050">
            <a:extLst>
              <a:ext uri="{FF2B5EF4-FFF2-40B4-BE49-F238E27FC236}">
                <a16:creationId xmlns:a16="http://schemas.microsoft.com/office/drawing/2014/main" id="{C5FE917F-2C15-F283-E968-D67CE75825D9}"/>
              </a:ext>
            </a:extLst>
          </p:cNvPr>
          <p:cNvCxnSpPr>
            <a:cxnSpLocks/>
          </p:cNvCxnSpPr>
          <p:nvPr/>
        </p:nvCxnSpPr>
        <p:spPr>
          <a:xfrm flipH="1">
            <a:off x="6338139" y="3018352"/>
            <a:ext cx="5763375" cy="9520"/>
          </a:xfrm>
          <a:prstGeom prst="line">
            <a:avLst/>
          </a:prstGeom>
          <a:ln w="12700">
            <a:solidFill>
              <a:srgbClr val="FA534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50E0DBE-78CB-F5BD-416B-2725CEBDB556}"/>
              </a:ext>
            </a:extLst>
          </p:cNvPr>
          <p:cNvSpPr txBox="1"/>
          <p:nvPr/>
        </p:nvSpPr>
        <p:spPr>
          <a:xfrm>
            <a:off x="238231" y="3416090"/>
            <a:ext cx="4072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To Become </a:t>
            </a:r>
            <a:r>
              <a:rPr lang="en-US" sz="1600" dirty="0">
                <a:solidFill>
                  <a:srgbClr val="FF0000"/>
                </a:solidFill>
              </a:rPr>
              <a:t>3 Michelin Star Rated </a:t>
            </a:r>
            <a:r>
              <a:rPr lang="en-US" sz="1600" dirty="0"/>
              <a:t>Restaurant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854C0C6-3D95-646D-03DC-1F2D85F86570}"/>
              </a:ext>
            </a:extLst>
          </p:cNvPr>
          <p:cNvCxnSpPr/>
          <p:nvPr/>
        </p:nvCxnSpPr>
        <p:spPr>
          <a:xfrm>
            <a:off x="4714875" y="3135867"/>
            <a:ext cx="0" cy="3065127"/>
          </a:xfrm>
          <a:prstGeom prst="line">
            <a:avLst/>
          </a:prstGeom>
          <a:ln w="12700">
            <a:solidFill>
              <a:srgbClr val="FA534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4" descr="Le Cordon Bleu - All You Need to Know BEFORE You Go (2024)">
            <a:extLst>
              <a:ext uri="{FF2B5EF4-FFF2-40B4-BE49-F238E27FC236}">
                <a16:creationId xmlns:a16="http://schemas.microsoft.com/office/drawing/2014/main" id="{1A67F687-6FD7-195A-1F4D-B9785925DA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8102" y="3506551"/>
            <a:ext cx="1827412" cy="1214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0870B0A-C989-F019-15DB-F02FD55E5BEE}"/>
              </a:ext>
            </a:extLst>
          </p:cNvPr>
          <p:cNvCxnSpPr/>
          <p:nvPr/>
        </p:nvCxnSpPr>
        <p:spPr>
          <a:xfrm>
            <a:off x="8314006" y="1318075"/>
            <a:ext cx="0" cy="1656150"/>
          </a:xfrm>
          <a:prstGeom prst="line">
            <a:avLst/>
          </a:prstGeom>
          <a:ln w="19050">
            <a:solidFill>
              <a:srgbClr val="FA534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39297B0-15C0-158A-A2CD-007B9A3D1D30}"/>
              </a:ext>
            </a:extLst>
          </p:cNvPr>
          <p:cNvCxnSpPr>
            <a:cxnSpLocks/>
          </p:cNvCxnSpPr>
          <p:nvPr/>
        </p:nvCxnSpPr>
        <p:spPr>
          <a:xfrm>
            <a:off x="6329358" y="1587440"/>
            <a:ext cx="1984648" cy="0"/>
          </a:xfrm>
          <a:prstGeom prst="line">
            <a:avLst/>
          </a:prstGeom>
          <a:ln w="12700">
            <a:solidFill>
              <a:srgbClr val="FA5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1" name="TextBox 1060">
            <a:extLst>
              <a:ext uri="{FF2B5EF4-FFF2-40B4-BE49-F238E27FC236}">
                <a16:creationId xmlns:a16="http://schemas.microsoft.com/office/drawing/2014/main" id="{AC1BF6E4-56B7-505E-B9AF-4A32CFD76F32}"/>
              </a:ext>
            </a:extLst>
          </p:cNvPr>
          <p:cNvSpPr txBox="1"/>
          <p:nvPr/>
        </p:nvSpPr>
        <p:spPr>
          <a:xfrm>
            <a:off x="6594668" y="1303822"/>
            <a:ext cx="15641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EVENT STRUCTURE</a:t>
            </a:r>
          </a:p>
        </p:txBody>
      </p:sp>
      <p:pic>
        <p:nvPicPr>
          <p:cNvPr id="1063" name="Picture 1062">
            <a:extLst>
              <a:ext uri="{FF2B5EF4-FFF2-40B4-BE49-F238E27FC236}">
                <a16:creationId xmlns:a16="http://schemas.microsoft.com/office/drawing/2014/main" id="{C00AEB09-ADC5-512B-821F-497ED1429F5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92509" y="1797692"/>
            <a:ext cx="450993" cy="450993"/>
          </a:xfrm>
          <a:prstGeom prst="rect">
            <a:avLst/>
          </a:prstGeom>
        </p:spPr>
      </p:pic>
      <p:sp>
        <p:nvSpPr>
          <p:cNvPr id="1064" name="TextBox 1063">
            <a:extLst>
              <a:ext uri="{FF2B5EF4-FFF2-40B4-BE49-F238E27FC236}">
                <a16:creationId xmlns:a16="http://schemas.microsoft.com/office/drawing/2014/main" id="{FA54B6EE-6F84-2676-8C90-73FE3816296A}"/>
              </a:ext>
            </a:extLst>
          </p:cNvPr>
          <p:cNvSpPr txBox="1"/>
          <p:nvPr/>
        </p:nvSpPr>
        <p:spPr>
          <a:xfrm>
            <a:off x="6274391" y="2214349"/>
            <a:ext cx="108723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900"/>
              <a:t>Open to culinary arts students in Paris</a:t>
            </a:r>
            <a:r>
              <a:rPr lang="en-IN" sz="800"/>
              <a:t>.</a:t>
            </a:r>
            <a:endParaRPr lang="en-US" sz="800"/>
          </a:p>
        </p:txBody>
      </p:sp>
      <p:pic>
        <p:nvPicPr>
          <p:cNvPr id="1065" name="Picture 1064">
            <a:extLst>
              <a:ext uri="{FF2B5EF4-FFF2-40B4-BE49-F238E27FC236}">
                <a16:creationId xmlns:a16="http://schemas.microsoft.com/office/drawing/2014/main" id="{996EA10C-47D0-6E12-4BE9-BB9310A5C1D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386996" y="1710290"/>
            <a:ext cx="674637" cy="674637"/>
          </a:xfrm>
          <a:prstGeom prst="rect">
            <a:avLst/>
          </a:prstGeom>
        </p:spPr>
      </p:pic>
      <p:sp>
        <p:nvSpPr>
          <p:cNvPr id="1066" name="TextBox 1065">
            <a:extLst>
              <a:ext uri="{FF2B5EF4-FFF2-40B4-BE49-F238E27FC236}">
                <a16:creationId xmlns:a16="http://schemas.microsoft.com/office/drawing/2014/main" id="{C06DAE2F-5BDD-1C5A-741A-801C09C3B98B}"/>
              </a:ext>
            </a:extLst>
          </p:cNvPr>
          <p:cNvSpPr txBox="1"/>
          <p:nvPr/>
        </p:nvSpPr>
        <p:spPr>
          <a:xfrm>
            <a:off x="7308591" y="2154403"/>
            <a:ext cx="7694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900"/>
              <a:t>Participants present signature dishes.</a:t>
            </a:r>
            <a:endParaRPr lang="en-US" sz="900"/>
          </a:p>
        </p:txBody>
      </p:sp>
      <p:cxnSp>
        <p:nvCxnSpPr>
          <p:cNvPr id="1068" name="Straight Connector 1067">
            <a:extLst>
              <a:ext uri="{FF2B5EF4-FFF2-40B4-BE49-F238E27FC236}">
                <a16:creationId xmlns:a16="http://schemas.microsoft.com/office/drawing/2014/main" id="{086489BA-9361-CB7F-A88F-8AF750143A0E}"/>
              </a:ext>
            </a:extLst>
          </p:cNvPr>
          <p:cNvCxnSpPr>
            <a:cxnSpLocks/>
          </p:cNvCxnSpPr>
          <p:nvPr/>
        </p:nvCxnSpPr>
        <p:spPr>
          <a:xfrm>
            <a:off x="8343235" y="2109677"/>
            <a:ext cx="1937396" cy="226"/>
          </a:xfrm>
          <a:prstGeom prst="line">
            <a:avLst/>
          </a:prstGeom>
          <a:ln w="19050">
            <a:solidFill>
              <a:srgbClr val="FA5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73" name="Picture 1072">
            <a:extLst>
              <a:ext uri="{FF2B5EF4-FFF2-40B4-BE49-F238E27FC236}">
                <a16:creationId xmlns:a16="http://schemas.microsoft.com/office/drawing/2014/main" id="{172BA08B-0384-8E82-52C9-F5BAC3FD6D3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493574" y="1081724"/>
            <a:ext cx="687816" cy="687816"/>
          </a:xfrm>
          <a:prstGeom prst="rect">
            <a:avLst/>
          </a:prstGeom>
        </p:spPr>
      </p:pic>
      <p:sp>
        <p:nvSpPr>
          <p:cNvPr id="1074" name="TextBox 1073">
            <a:extLst>
              <a:ext uri="{FF2B5EF4-FFF2-40B4-BE49-F238E27FC236}">
                <a16:creationId xmlns:a16="http://schemas.microsoft.com/office/drawing/2014/main" id="{934B2426-206B-7651-3941-6065447DBFB5}"/>
              </a:ext>
            </a:extLst>
          </p:cNvPr>
          <p:cNvSpPr txBox="1"/>
          <p:nvPr/>
        </p:nvSpPr>
        <p:spPr>
          <a:xfrm>
            <a:off x="8220892" y="1522912"/>
            <a:ext cx="114193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900"/>
              <a:t>Winner awarded a unique title and marketing spotlight</a:t>
            </a:r>
            <a:endParaRPr lang="en-US" sz="900"/>
          </a:p>
        </p:txBody>
      </p:sp>
      <p:pic>
        <p:nvPicPr>
          <p:cNvPr id="1075" name="Picture 1074">
            <a:extLst>
              <a:ext uri="{FF2B5EF4-FFF2-40B4-BE49-F238E27FC236}">
                <a16:creationId xmlns:a16="http://schemas.microsoft.com/office/drawing/2014/main" id="{21F22E89-F28B-0832-2E73-C3BF19C4613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604224" y="1218881"/>
            <a:ext cx="447610" cy="447610"/>
          </a:xfrm>
          <a:prstGeom prst="rect">
            <a:avLst/>
          </a:prstGeom>
        </p:spPr>
      </p:pic>
      <p:sp>
        <p:nvSpPr>
          <p:cNvPr id="1076" name="TextBox 1075">
            <a:extLst>
              <a:ext uri="{FF2B5EF4-FFF2-40B4-BE49-F238E27FC236}">
                <a16:creationId xmlns:a16="http://schemas.microsoft.com/office/drawing/2014/main" id="{67FB47FB-5B87-55D8-0802-C60E7B96A24E}"/>
              </a:ext>
            </a:extLst>
          </p:cNvPr>
          <p:cNvSpPr txBox="1"/>
          <p:nvPr/>
        </p:nvSpPr>
        <p:spPr>
          <a:xfrm>
            <a:off x="9268882" y="1583910"/>
            <a:ext cx="117426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900"/>
              <a:t>Full scholarship for culinary training or mentorship</a:t>
            </a:r>
            <a:endParaRPr lang="en-US" sz="900"/>
          </a:p>
        </p:txBody>
      </p:sp>
      <p:sp>
        <p:nvSpPr>
          <p:cNvPr id="1077" name="Up-down Arrow 1076">
            <a:extLst>
              <a:ext uri="{FF2B5EF4-FFF2-40B4-BE49-F238E27FC236}">
                <a16:creationId xmlns:a16="http://schemas.microsoft.com/office/drawing/2014/main" id="{DDBDA0EF-E51A-268F-8FD2-91713A4C0CF3}"/>
              </a:ext>
            </a:extLst>
          </p:cNvPr>
          <p:cNvSpPr/>
          <p:nvPr/>
        </p:nvSpPr>
        <p:spPr>
          <a:xfrm>
            <a:off x="9245317" y="1871353"/>
            <a:ext cx="167594" cy="523332"/>
          </a:xfrm>
          <a:prstGeom prst="upDown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8" name="Rectangle 1077">
            <a:extLst>
              <a:ext uri="{FF2B5EF4-FFF2-40B4-BE49-F238E27FC236}">
                <a16:creationId xmlns:a16="http://schemas.microsoft.com/office/drawing/2014/main" id="{6C192305-CF0C-B3DE-221E-89E98159AD3E}"/>
              </a:ext>
            </a:extLst>
          </p:cNvPr>
          <p:cNvSpPr/>
          <p:nvPr/>
        </p:nvSpPr>
        <p:spPr>
          <a:xfrm>
            <a:off x="8993946" y="2047608"/>
            <a:ext cx="673837" cy="182037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/>
              <a:t>Gains</a:t>
            </a:r>
          </a:p>
        </p:txBody>
      </p:sp>
      <p:pic>
        <p:nvPicPr>
          <p:cNvPr id="1079" name="Picture 1078">
            <a:extLst>
              <a:ext uri="{FF2B5EF4-FFF2-40B4-BE49-F238E27FC236}">
                <a16:creationId xmlns:a16="http://schemas.microsoft.com/office/drawing/2014/main" id="{C5E94033-6F5F-6871-DDFF-8AD0B6D4981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560356" y="2221733"/>
            <a:ext cx="442483" cy="442483"/>
          </a:xfrm>
          <a:prstGeom prst="rect">
            <a:avLst/>
          </a:prstGeom>
        </p:spPr>
      </p:pic>
      <p:sp>
        <p:nvSpPr>
          <p:cNvPr id="1080" name="TextBox 1079">
            <a:extLst>
              <a:ext uri="{FF2B5EF4-FFF2-40B4-BE49-F238E27FC236}">
                <a16:creationId xmlns:a16="http://schemas.microsoft.com/office/drawing/2014/main" id="{410721F9-E316-30A7-514F-2324382213FE}"/>
              </a:ext>
            </a:extLst>
          </p:cNvPr>
          <p:cNvSpPr txBox="1"/>
          <p:nvPr/>
        </p:nvSpPr>
        <p:spPr>
          <a:xfrm>
            <a:off x="8349889" y="2604292"/>
            <a:ext cx="983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Recruitment Opportunity</a:t>
            </a:r>
          </a:p>
        </p:txBody>
      </p:sp>
      <p:sp>
        <p:nvSpPr>
          <p:cNvPr id="1081" name="TextBox 1080">
            <a:extLst>
              <a:ext uri="{FF2B5EF4-FFF2-40B4-BE49-F238E27FC236}">
                <a16:creationId xmlns:a16="http://schemas.microsoft.com/office/drawing/2014/main" id="{CEF8EABF-C15D-42F5-B86B-6EB3F613AFAF}"/>
              </a:ext>
            </a:extLst>
          </p:cNvPr>
          <p:cNvSpPr txBox="1"/>
          <p:nvPr/>
        </p:nvSpPr>
        <p:spPr>
          <a:xfrm>
            <a:off x="9393443" y="2617419"/>
            <a:ext cx="9020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900"/>
              <a:t>Legacy Building</a:t>
            </a:r>
            <a:endParaRPr lang="en-US" sz="900"/>
          </a:p>
        </p:txBody>
      </p:sp>
      <p:pic>
        <p:nvPicPr>
          <p:cNvPr id="1082" name="Picture 1081">
            <a:extLst>
              <a:ext uri="{FF2B5EF4-FFF2-40B4-BE49-F238E27FC236}">
                <a16:creationId xmlns:a16="http://schemas.microsoft.com/office/drawing/2014/main" id="{B7E7A6AA-21BB-9C67-E8AE-AFA7E109D64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577700" y="2170792"/>
            <a:ext cx="510780" cy="510780"/>
          </a:xfrm>
          <a:prstGeom prst="rect">
            <a:avLst/>
          </a:prstGeom>
        </p:spPr>
      </p:pic>
      <p:cxnSp>
        <p:nvCxnSpPr>
          <p:cNvPr id="1083" name="Straight Connector 1082">
            <a:extLst>
              <a:ext uri="{FF2B5EF4-FFF2-40B4-BE49-F238E27FC236}">
                <a16:creationId xmlns:a16="http://schemas.microsoft.com/office/drawing/2014/main" id="{ECFAC074-A9B5-5B85-0AEB-D5C14BC360B4}"/>
              </a:ext>
            </a:extLst>
          </p:cNvPr>
          <p:cNvCxnSpPr>
            <a:cxnSpLocks/>
          </p:cNvCxnSpPr>
          <p:nvPr/>
        </p:nvCxnSpPr>
        <p:spPr>
          <a:xfrm flipH="1">
            <a:off x="78361" y="3757782"/>
            <a:ext cx="4647708" cy="0"/>
          </a:xfrm>
          <a:prstGeom prst="line">
            <a:avLst/>
          </a:prstGeom>
          <a:ln w="12700">
            <a:solidFill>
              <a:srgbClr val="FA534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87" name="Picture 1086">
            <a:extLst>
              <a:ext uri="{FF2B5EF4-FFF2-40B4-BE49-F238E27FC236}">
                <a16:creationId xmlns:a16="http://schemas.microsoft.com/office/drawing/2014/main" id="{DF1C7422-499F-BFCE-A2AC-91C2F007830F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72365" y="4293887"/>
            <a:ext cx="493170" cy="493170"/>
          </a:xfrm>
          <a:prstGeom prst="rect">
            <a:avLst/>
          </a:prstGeom>
        </p:spPr>
      </p:pic>
      <p:pic>
        <p:nvPicPr>
          <p:cNvPr id="1088" name="Picture 1087">
            <a:extLst>
              <a:ext uri="{FF2B5EF4-FFF2-40B4-BE49-F238E27FC236}">
                <a16:creationId xmlns:a16="http://schemas.microsoft.com/office/drawing/2014/main" id="{6465B104-D70F-548C-F9A8-7F58572DB7D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595741" y="4293887"/>
            <a:ext cx="497863" cy="497863"/>
          </a:xfrm>
          <a:prstGeom prst="rect">
            <a:avLst/>
          </a:prstGeom>
        </p:spPr>
      </p:pic>
      <p:sp>
        <p:nvSpPr>
          <p:cNvPr id="1089" name="TextBox 1088">
            <a:extLst>
              <a:ext uri="{FF2B5EF4-FFF2-40B4-BE49-F238E27FC236}">
                <a16:creationId xmlns:a16="http://schemas.microsoft.com/office/drawing/2014/main" id="{E3C2A5BE-CC06-8D6A-5226-95E67DAD6228}"/>
              </a:ext>
            </a:extLst>
          </p:cNvPr>
          <p:cNvSpPr txBox="1"/>
          <p:nvPr/>
        </p:nvSpPr>
        <p:spPr>
          <a:xfrm>
            <a:off x="2524627" y="4823827"/>
            <a:ext cx="602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Free Publicity</a:t>
            </a:r>
          </a:p>
        </p:txBody>
      </p:sp>
      <p:pic>
        <p:nvPicPr>
          <p:cNvPr id="1090" name="Picture 1089">
            <a:extLst>
              <a:ext uri="{FF2B5EF4-FFF2-40B4-BE49-F238E27FC236}">
                <a16:creationId xmlns:a16="http://schemas.microsoft.com/office/drawing/2014/main" id="{28542E53-E356-D540-CE47-D973E9ABF6B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587405" y="4285959"/>
            <a:ext cx="570870" cy="570870"/>
          </a:xfrm>
          <a:prstGeom prst="rect">
            <a:avLst/>
          </a:prstGeom>
        </p:spPr>
      </p:pic>
      <p:sp>
        <p:nvSpPr>
          <p:cNvPr id="1091" name="TextBox 1090">
            <a:extLst>
              <a:ext uri="{FF2B5EF4-FFF2-40B4-BE49-F238E27FC236}">
                <a16:creationId xmlns:a16="http://schemas.microsoft.com/office/drawing/2014/main" id="{37C06315-7F63-D5EA-1F66-06DB0BD9E335}"/>
              </a:ext>
            </a:extLst>
          </p:cNvPr>
          <p:cNvSpPr txBox="1"/>
          <p:nvPr/>
        </p:nvSpPr>
        <p:spPr>
          <a:xfrm>
            <a:off x="1522812" y="4859314"/>
            <a:ext cx="731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A Luxury In Itself</a:t>
            </a:r>
          </a:p>
        </p:txBody>
      </p:sp>
      <p:pic>
        <p:nvPicPr>
          <p:cNvPr id="1092" name="Picture 1091">
            <a:extLst>
              <a:ext uri="{FF2B5EF4-FFF2-40B4-BE49-F238E27FC236}">
                <a16:creationId xmlns:a16="http://schemas.microsoft.com/office/drawing/2014/main" id="{0324AF3D-2C2C-5A0A-ECAB-1F7A88FA9014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999732" y="4314065"/>
            <a:ext cx="473194" cy="473194"/>
          </a:xfrm>
          <a:prstGeom prst="rect">
            <a:avLst/>
          </a:prstGeom>
        </p:spPr>
      </p:pic>
      <p:sp>
        <p:nvSpPr>
          <p:cNvPr id="1093" name="TextBox 1092">
            <a:extLst>
              <a:ext uri="{FF2B5EF4-FFF2-40B4-BE49-F238E27FC236}">
                <a16:creationId xmlns:a16="http://schemas.microsoft.com/office/drawing/2014/main" id="{59E3BA30-F697-77AF-E68F-C1CF5DF1F278}"/>
              </a:ext>
            </a:extLst>
          </p:cNvPr>
          <p:cNvSpPr txBox="1"/>
          <p:nvPr/>
        </p:nvSpPr>
        <p:spPr>
          <a:xfrm>
            <a:off x="3929562" y="4798169"/>
            <a:ext cx="6108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Global Spotlight</a:t>
            </a:r>
          </a:p>
        </p:txBody>
      </p:sp>
      <p:pic>
        <p:nvPicPr>
          <p:cNvPr id="1094" name="Picture 1093">
            <a:extLst>
              <a:ext uri="{FF2B5EF4-FFF2-40B4-BE49-F238E27FC236}">
                <a16:creationId xmlns:a16="http://schemas.microsoft.com/office/drawing/2014/main" id="{284AA9D0-A688-F917-E3DA-AECB82698139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306929" y="4295033"/>
            <a:ext cx="533013" cy="533013"/>
          </a:xfrm>
          <a:prstGeom prst="rect">
            <a:avLst/>
          </a:prstGeom>
        </p:spPr>
      </p:pic>
      <p:sp>
        <p:nvSpPr>
          <p:cNvPr id="1095" name="TextBox 1094">
            <a:extLst>
              <a:ext uri="{FF2B5EF4-FFF2-40B4-BE49-F238E27FC236}">
                <a16:creationId xmlns:a16="http://schemas.microsoft.com/office/drawing/2014/main" id="{574A9652-CE5F-23B7-960B-C5AE4088FE7A}"/>
              </a:ext>
            </a:extLst>
          </p:cNvPr>
          <p:cNvSpPr txBox="1"/>
          <p:nvPr/>
        </p:nvSpPr>
        <p:spPr>
          <a:xfrm>
            <a:off x="3238816" y="4770202"/>
            <a:ext cx="712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Enhanced Social Media Presence</a:t>
            </a:r>
          </a:p>
        </p:txBody>
      </p:sp>
      <p:pic>
        <p:nvPicPr>
          <p:cNvPr id="1096" name="Picture 1095">
            <a:extLst>
              <a:ext uri="{FF2B5EF4-FFF2-40B4-BE49-F238E27FC236}">
                <a16:creationId xmlns:a16="http://schemas.microsoft.com/office/drawing/2014/main" id="{29133DD0-02FF-5B01-86E3-4402E9F6C481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36484" y="5270456"/>
            <a:ext cx="528026" cy="570869"/>
          </a:xfrm>
          <a:prstGeom prst="rect">
            <a:avLst/>
          </a:prstGeom>
        </p:spPr>
      </p:pic>
      <p:sp>
        <p:nvSpPr>
          <p:cNvPr id="1097" name="TextBox 1096">
            <a:extLst>
              <a:ext uri="{FF2B5EF4-FFF2-40B4-BE49-F238E27FC236}">
                <a16:creationId xmlns:a16="http://schemas.microsoft.com/office/drawing/2014/main" id="{150BFCB6-616A-A96A-ECC9-6778DB7F3BEC}"/>
              </a:ext>
            </a:extLst>
          </p:cNvPr>
          <p:cNvSpPr txBox="1"/>
          <p:nvPr/>
        </p:nvSpPr>
        <p:spPr>
          <a:xfrm>
            <a:off x="169735" y="5844431"/>
            <a:ext cx="852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/>
              <a:t>Opens doors for expanding into other locations</a:t>
            </a:r>
            <a:endParaRPr lang="en-US" sz="800"/>
          </a:p>
        </p:txBody>
      </p:sp>
      <p:pic>
        <p:nvPicPr>
          <p:cNvPr id="1098" name="Picture 1097">
            <a:extLst>
              <a:ext uri="{FF2B5EF4-FFF2-40B4-BE49-F238E27FC236}">
                <a16:creationId xmlns:a16="http://schemas.microsoft.com/office/drawing/2014/main" id="{FCD155B6-8917-C9FE-2263-0B9E27BC6B41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44019" y="4273494"/>
            <a:ext cx="549160" cy="549160"/>
          </a:xfrm>
          <a:prstGeom prst="rect">
            <a:avLst/>
          </a:prstGeom>
        </p:spPr>
      </p:pic>
      <p:sp>
        <p:nvSpPr>
          <p:cNvPr id="1099" name="TextBox 1098">
            <a:extLst>
              <a:ext uri="{FF2B5EF4-FFF2-40B4-BE49-F238E27FC236}">
                <a16:creationId xmlns:a16="http://schemas.microsoft.com/office/drawing/2014/main" id="{4658AE3E-2C27-D978-65E4-5D3865CDF61F}"/>
              </a:ext>
            </a:extLst>
          </p:cNvPr>
          <p:cNvSpPr txBox="1"/>
          <p:nvPr/>
        </p:nvSpPr>
        <p:spPr>
          <a:xfrm>
            <a:off x="770091" y="4872204"/>
            <a:ext cx="7368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Higher Demands</a:t>
            </a:r>
          </a:p>
        </p:txBody>
      </p:sp>
      <p:sp>
        <p:nvSpPr>
          <p:cNvPr id="1113" name="TextBox 1112">
            <a:extLst>
              <a:ext uri="{FF2B5EF4-FFF2-40B4-BE49-F238E27FC236}">
                <a16:creationId xmlns:a16="http://schemas.microsoft.com/office/drawing/2014/main" id="{CD63FD83-0074-432F-0171-446E101066F4}"/>
              </a:ext>
            </a:extLst>
          </p:cNvPr>
          <p:cNvSpPr txBox="1"/>
          <p:nvPr/>
        </p:nvSpPr>
        <p:spPr>
          <a:xfrm>
            <a:off x="-25561" y="4846333"/>
            <a:ext cx="8701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Only 10 in whole France</a:t>
            </a:r>
          </a:p>
        </p:txBody>
      </p:sp>
      <p:cxnSp>
        <p:nvCxnSpPr>
          <p:cNvPr id="1114" name="Straight Connector 1113">
            <a:extLst>
              <a:ext uri="{FF2B5EF4-FFF2-40B4-BE49-F238E27FC236}">
                <a16:creationId xmlns:a16="http://schemas.microsoft.com/office/drawing/2014/main" id="{F544D4C7-37FC-01D7-F722-850ECE692ED4}"/>
              </a:ext>
            </a:extLst>
          </p:cNvPr>
          <p:cNvCxnSpPr>
            <a:cxnSpLocks/>
          </p:cNvCxnSpPr>
          <p:nvPr/>
        </p:nvCxnSpPr>
        <p:spPr>
          <a:xfrm flipH="1">
            <a:off x="0" y="4023552"/>
            <a:ext cx="4714875" cy="0"/>
          </a:xfrm>
          <a:prstGeom prst="line">
            <a:avLst/>
          </a:prstGeom>
          <a:ln w="12700">
            <a:solidFill>
              <a:srgbClr val="FA534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0" name="TextBox 1119">
            <a:extLst>
              <a:ext uri="{FF2B5EF4-FFF2-40B4-BE49-F238E27FC236}">
                <a16:creationId xmlns:a16="http://schemas.microsoft.com/office/drawing/2014/main" id="{8EE84EEB-295D-2F39-C6AD-2A53376B39E5}"/>
              </a:ext>
            </a:extLst>
          </p:cNvPr>
          <p:cNvSpPr txBox="1"/>
          <p:nvPr/>
        </p:nvSpPr>
        <p:spPr>
          <a:xfrm>
            <a:off x="24810" y="3754644"/>
            <a:ext cx="4678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/>
              <a:t>OUTCOMES</a:t>
            </a:r>
            <a:endParaRPr lang="en-US" sz="1400"/>
          </a:p>
        </p:txBody>
      </p: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0D7C4E76-80E6-F56E-219E-9A48C3879917}"/>
              </a:ext>
            </a:extLst>
          </p:cNvPr>
          <p:cNvCxnSpPr>
            <a:cxnSpLocks/>
          </p:cNvCxnSpPr>
          <p:nvPr/>
        </p:nvCxnSpPr>
        <p:spPr>
          <a:xfrm>
            <a:off x="2489830" y="4011375"/>
            <a:ext cx="0" cy="2342019"/>
          </a:xfrm>
          <a:prstGeom prst="line">
            <a:avLst/>
          </a:prstGeom>
          <a:ln w="12700">
            <a:solidFill>
              <a:srgbClr val="FA534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3" name="TextBox 1122">
            <a:extLst>
              <a:ext uri="{FF2B5EF4-FFF2-40B4-BE49-F238E27FC236}">
                <a16:creationId xmlns:a16="http://schemas.microsoft.com/office/drawing/2014/main" id="{5E6AC631-2855-F3B4-FD32-C2A27EC9025E}"/>
              </a:ext>
            </a:extLst>
          </p:cNvPr>
          <p:cNvSpPr txBox="1"/>
          <p:nvPr/>
        </p:nvSpPr>
        <p:spPr>
          <a:xfrm>
            <a:off x="2941552" y="4018403"/>
            <a:ext cx="14838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rgbClr val="FF0000"/>
                </a:solidFill>
              </a:rPr>
              <a:t>FOR MARKETING</a:t>
            </a:r>
          </a:p>
        </p:txBody>
      </p:sp>
      <p:sp>
        <p:nvSpPr>
          <p:cNvPr id="1124" name="Rectangle 1123">
            <a:extLst>
              <a:ext uri="{FF2B5EF4-FFF2-40B4-BE49-F238E27FC236}">
                <a16:creationId xmlns:a16="http://schemas.microsoft.com/office/drawing/2014/main" id="{E955494D-A39A-855C-3E33-C676F5B99CDA}"/>
              </a:ext>
            </a:extLst>
          </p:cNvPr>
          <p:cNvSpPr/>
          <p:nvPr/>
        </p:nvSpPr>
        <p:spPr>
          <a:xfrm>
            <a:off x="2844672" y="4057266"/>
            <a:ext cx="1353143" cy="188170"/>
          </a:xfrm>
          <a:prstGeom prst="rect">
            <a:avLst/>
          </a:prstGeom>
          <a:noFill/>
          <a:ln w="12700" cap="flat" cmpd="sng" algn="ctr">
            <a:solidFill>
              <a:srgbClr val="FA534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25" name="Picture 1124">
            <a:extLst>
              <a:ext uri="{FF2B5EF4-FFF2-40B4-BE49-F238E27FC236}">
                <a16:creationId xmlns:a16="http://schemas.microsoft.com/office/drawing/2014/main" id="{F1FF8C76-CFCC-EC00-43CE-D30247575099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647031" y="5226220"/>
            <a:ext cx="545002" cy="545002"/>
          </a:xfrm>
          <a:prstGeom prst="rect">
            <a:avLst/>
          </a:prstGeom>
        </p:spPr>
      </p:pic>
      <p:pic>
        <p:nvPicPr>
          <p:cNvPr id="1126" name="Picture 1125">
            <a:extLst>
              <a:ext uri="{FF2B5EF4-FFF2-40B4-BE49-F238E27FC236}">
                <a16:creationId xmlns:a16="http://schemas.microsoft.com/office/drawing/2014/main" id="{876BACE0-A8D4-67B3-F299-AE89AB68B331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3336147" y="5244662"/>
            <a:ext cx="474989" cy="474989"/>
          </a:xfrm>
          <a:prstGeom prst="rect">
            <a:avLst/>
          </a:prstGeom>
        </p:spPr>
      </p:pic>
      <p:pic>
        <p:nvPicPr>
          <p:cNvPr id="1127" name="Picture 2" descr="Magazine - Free commerce icons">
            <a:extLst>
              <a:ext uri="{FF2B5EF4-FFF2-40B4-BE49-F238E27FC236}">
                <a16:creationId xmlns:a16="http://schemas.microsoft.com/office/drawing/2014/main" id="{6D46B459-9B9D-E8EC-F460-328A9DF97B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5734" y="5226671"/>
            <a:ext cx="546170" cy="546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8" name="TextBox 1127">
            <a:extLst>
              <a:ext uri="{FF2B5EF4-FFF2-40B4-BE49-F238E27FC236}">
                <a16:creationId xmlns:a16="http://schemas.microsoft.com/office/drawing/2014/main" id="{2B4DF72C-6C60-DCCB-98F2-18A4726850C3}"/>
              </a:ext>
            </a:extLst>
          </p:cNvPr>
          <p:cNvSpPr txBox="1"/>
          <p:nvPr/>
        </p:nvSpPr>
        <p:spPr>
          <a:xfrm>
            <a:off x="2436025" y="5740557"/>
            <a:ext cx="90012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/>
              <a:t>Attracts partnerships with luxury brands.</a:t>
            </a:r>
          </a:p>
          <a:p>
            <a:pPr algn="ctr"/>
            <a:endParaRPr lang="en-US"/>
          </a:p>
        </p:txBody>
      </p:sp>
      <p:sp>
        <p:nvSpPr>
          <p:cNvPr id="1129" name="TextBox 1128">
            <a:extLst>
              <a:ext uri="{FF2B5EF4-FFF2-40B4-BE49-F238E27FC236}">
                <a16:creationId xmlns:a16="http://schemas.microsoft.com/office/drawing/2014/main" id="{17EF9BBA-BDD9-0238-70B2-59B10E5E8748}"/>
              </a:ext>
            </a:extLst>
          </p:cNvPr>
          <p:cNvSpPr txBox="1"/>
          <p:nvPr/>
        </p:nvSpPr>
        <p:spPr>
          <a:xfrm>
            <a:off x="3134510" y="5802112"/>
            <a:ext cx="7927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/>
              <a:t>Elevates the restaurant's prestige</a:t>
            </a:r>
            <a:endParaRPr lang="en-US" sz="800"/>
          </a:p>
        </p:txBody>
      </p:sp>
      <p:sp>
        <p:nvSpPr>
          <p:cNvPr id="1130" name="TextBox 1129">
            <a:extLst>
              <a:ext uri="{FF2B5EF4-FFF2-40B4-BE49-F238E27FC236}">
                <a16:creationId xmlns:a16="http://schemas.microsoft.com/office/drawing/2014/main" id="{444322D9-BC68-11D2-EB6C-BFC9D472C4D5}"/>
              </a:ext>
            </a:extLst>
          </p:cNvPr>
          <p:cNvSpPr txBox="1"/>
          <p:nvPr/>
        </p:nvSpPr>
        <p:spPr>
          <a:xfrm>
            <a:off x="3743097" y="5819058"/>
            <a:ext cx="10275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/>
              <a:t>Boosts visibility through features in culinary magazines</a:t>
            </a:r>
            <a:endParaRPr lang="en-US" sz="800"/>
          </a:p>
        </p:txBody>
      </p:sp>
      <p:sp>
        <p:nvSpPr>
          <p:cNvPr id="1131" name="TextBox 1130">
            <a:extLst>
              <a:ext uri="{FF2B5EF4-FFF2-40B4-BE49-F238E27FC236}">
                <a16:creationId xmlns:a16="http://schemas.microsoft.com/office/drawing/2014/main" id="{744C064C-1F82-0E17-3ACF-8CB8DD4A2EFF}"/>
              </a:ext>
            </a:extLst>
          </p:cNvPr>
          <p:cNvSpPr txBox="1"/>
          <p:nvPr/>
        </p:nvSpPr>
        <p:spPr>
          <a:xfrm>
            <a:off x="1040100" y="5767771"/>
            <a:ext cx="130116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/>
              <a:t>Attracts premium suppliers eager to associate with a top-tier restaurant.</a:t>
            </a:r>
          </a:p>
          <a:p>
            <a:endParaRPr lang="en-US"/>
          </a:p>
        </p:txBody>
      </p:sp>
      <p:pic>
        <p:nvPicPr>
          <p:cNvPr id="1132" name="Picture 1131">
            <a:extLst>
              <a:ext uri="{FF2B5EF4-FFF2-40B4-BE49-F238E27FC236}">
                <a16:creationId xmlns:a16="http://schemas.microsoft.com/office/drawing/2014/main" id="{2499DA44-E669-F57B-42AB-30A07A1E5BDA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375877" y="5264331"/>
            <a:ext cx="556484" cy="556484"/>
          </a:xfrm>
          <a:prstGeom prst="rect">
            <a:avLst/>
          </a:prstGeom>
        </p:spPr>
      </p:pic>
      <p:cxnSp>
        <p:nvCxnSpPr>
          <p:cNvPr id="1133" name="Straight Connector 1132">
            <a:extLst>
              <a:ext uri="{FF2B5EF4-FFF2-40B4-BE49-F238E27FC236}">
                <a16:creationId xmlns:a16="http://schemas.microsoft.com/office/drawing/2014/main" id="{62347A45-FCE9-EFD7-21B4-723BF3B19B13}"/>
              </a:ext>
            </a:extLst>
          </p:cNvPr>
          <p:cNvCxnSpPr>
            <a:cxnSpLocks/>
          </p:cNvCxnSpPr>
          <p:nvPr/>
        </p:nvCxnSpPr>
        <p:spPr>
          <a:xfrm flipH="1" flipV="1">
            <a:off x="4744093" y="4846333"/>
            <a:ext cx="7432362" cy="10496"/>
          </a:xfrm>
          <a:prstGeom prst="line">
            <a:avLst/>
          </a:prstGeom>
          <a:ln w="12700">
            <a:solidFill>
              <a:srgbClr val="FA534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9" name="Straight Connector 1138">
            <a:extLst>
              <a:ext uri="{FF2B5EF4-FFF2-40B4-BE49-F238E27FC236}">
                <a16:creationId xmlns:a16="http://schemas.microsoft.com/office/drawing/2014/main" id="{F4781208-7AB7-55DB-BA43-E882659030C8}"/>
              </a:ext>
            </a:extLst>
          </p:cNvPr>
          <p:cNvCxnSpPr>
            <a:cxnSpLocks/>
          </p:cNvCxnSpPr>
          <p:nvPr/>
        </p:nvCxnSpPr>
        <p:spPr>
          <a:xfrm>
            <a:off x="8220892" y="3506551"/>
            <a:ext cx="0" cy="1304657"/>
          </a:xfrm>
          <a:prstGeom prst="line">
            <a:avLst/>
          </a:prstGeom>
          <a:ln w="12700">
            <a:solidFill>
              <a:srgbClr val="FA534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2" name="TextBox 1141">
            <a:extLst>
              <a:ext uri="{FF2B5EF4-FFF2-40B4-BE49-F238E27FC236}">
                <a16:creationId xmlns:a16="http://schemas.microsoft.com/office/drawing/2014/main" id="{149D15EC-3879-4A18-B528-C73D6499A780}"/>
              </a:ext>
            </a:extLst>
          </p:cNvPr>
          <p:cNvSpPr txBox="1"/>
          <p:nvPr/>
        </p:nvSpPr>
        <p:spPr>
          <a:xfrm>
            <a:off x="6824313" y="3539147"/>
            <a:ext cx="135047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/>
              <a:t>Recruit students of culinary arts In Institute like </a:t>
            </a:r>
          </a:p>
          <a:p>
            <a:pPr algn="ctr"/>
            <a:r>
              <a:rPr lang="en-US" sz="1100"/>
              <a:t>‘</a:t>
            </a:r>
            <a:r>
              <a:rPr lang="en-IN" sz="1100" b="1">
                <a:solidFill>
                  <a:schemeClr val="accent1">
                    <a:lumMod val="75000"/>
                  </a:schemeClr>
                </a:solidFill>
              </a:rPr>
              <a:t>Le Cardon Bleu</a:t>
            </a:r>
            <a:r>
              <a:rPr lang="en-IN" sz="1100"/>
              <a:t>’ </a:t>
            </a:r>
          </a:p>
          <a:p>
            <a:pPr algn="ctr"/>
            <a:r>
              <a:rPr lang="en-US" sz="1100"/>
              <a:t>for internship as well as placement</a:t>
            </a:r>
          </a:p>
          <a:p>
            <a:endParaRPr lang="en-US"/>
          </a:p>
        </p:txBody>
      </p:sp>
      <p:pic>
        <p:nvPicPr>
          <p:cNvPr id="1145" name="Picture 1144">
            <a:extLst>
              <a:ext uri="{FF2B5EF4-FFF2-40B4-BE49-F238E27FC236}">
                <a16:creationId xmlns:a16="http://schemas.microsoft.com/office/drawing/2014/main" id="{3E349DDE-DC9F-7AC7-53C7-CD21BCDC3CE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349241" y="3343706"/>
            <a:ext cx="751421" cy="751421"/>
          </a:xfrm>
          <a:prstGeom prst="rect">
            <a:avLst/>
          </a:prstGeom>
        </p:spPr>
      </p:pic>
      <p:sp>
        <p:nvSpPr>
          <p:cNvPr id="1146" name="TextBox 1145">
            <a:extLst>
              <a:ext uri="{FF2B5EF4-FFF2-40B4-BE49-F238E27FC236}">
                <a16:creationId xmlns:a16="http://schemas.microsoft.com/office/drawing/2014/main" id="{BE4EF0AA-0B4F-F45A-ED4D-5FA4055AD679}"/>
              </a:ext>
            </a:extLst>
          </p:cNvPr>
          <p:cNvSpPr txBox="1"/>
          <p:nvPr/>
        </p:nvSpPr>
        <p:spPr>
          <a:xfrm>
            <a:off x="8142697" y="4037066"/>
            <a:ext cx="11342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Staff Of World’s top Culinary Arts Institute</a:t>
            </a:r>
          </a:p>
        </p:txBody>
      </p:sp>
      <p:pic>
        <p:nvPicPr>
          <p:cNvPr id="1147" name="Picture 1146">
            <a:extLst>
              <a:ext uri="{FF2B5EF4-FFF2-40B4-BE49-F238E27FC236}">
                <a16:creationId xmlns:a16="http://schemas.microsoft.com/office/drawing/2014/main" id="{A5EE7DB3-5ED3-2E6C-C808-5EC26BA83544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9219826" y="3426111"/>
            <a:ext cx="630437" cy="630437"/>
          </a:xfrm>
          <a:prstGeom prst="rect">
            <a:avLst/>
          </a:prstGeom>
        </p:spPr>
      </p:pic>
      <p:sp>
        <p:nvSpPr>
          <p:cNvPr id="1148" name="TextBox 1147">
            <a:extLst>
              <a:ext uri="{FF2B5EF4-FFF2-40B4-BE49-F238E27FC236}">
                <a16:creationId xmlns:a16="http://schemas.microsoft.com/office/drawing/2014/main" id="{2F8A3825-121B-2115-1466-6DCB8378E09E}"/>
              </a:ext>
            </a:extLst>
          </p:cNvPr>
          <p:cNvSpPr txBox="1"/>
          <p:nvPr/>
        </p:nvSpPr>
        <p:spPr>
          <a:xfrm>
            <a:off x="9066685" y="4039288"/>
            <a:ext cx="7893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Aid In Achieving Main Goal</a:t>
            </a:r>
          </a:p>
        </p:txBody>
      </p:sp>
      <p:pic>
        <p:nvPicPr>
          <p:cNvPr id="1149" name="Picture 1148">
            <a:extLst>
              <a:ext uri="{FF2B5EF4-FFF2-40B4-BE49-F238E27FC236}">
                <a16:creationId xmlns:a16="http://schemas.microsoft.com/office/drawing/2014/main" id="{474671D8-08BB-FAE8-DA0B-AB2F06A20B7F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9952078" y="3416090"/>
            <a:ext cx="657105" cy="657105"/>
          </a:xfrm>
          <a:prstGeom prst="rect">
            <a:avLst/>
          </a:prstGeom>
        </p:spPr>
      </p:pic>
      <p:sp>
        <p:nvSpPr>
          <p:cNvPr id="1150" name="TextBox 1149">
            <a:extLst>
              <a:ext uri="{FF2B5EF4-FFF2-40B4-BE49-F238E27FC236}">
                <a16:creationId xmlns:a16="http://schemas.microsoft.com/office/drawing/2014/main" id="{92E009A6-8F17-E8BA-7EF3-5C1742C4DF69}"/>
              </a:ext>
            </a:extLst>
          </p:cNvPr>
          <p:cNvSpPr txBox="1"/>
          <p:nvPr/>
        </p:nvSpPr>
        <p:spPr>
          <a:xfrm>
            <a:off x="9604224" y="4038874"/>
            <a:ext cx="11759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Promotion will Be Done Amongst Future Industry Star</a:t>
            </a:r>
          </a:p>
        </p:txBody>
      </p:sp>
      <p:pic>
        <p:nvPicPr>
          <p:cNvPr id="1151" name="Picture 1150">
            <a:extLst>
              <a:ext uri="{FF2B5EF4-FFF2-40B4-BE49-F238E27FC236}">
                <a16:creationId xmlns:a16="http://schemas.microsoft.com/office/drawing/2014/main" id="{201EC11D-F10D-FBC9-0F28-BFF5B0B7F4FC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799936" y="3427884"/>
            <a:ext cx="646912" cy="646912"/>
          </a:xfrm>
          <a:prstGeom prst="rect">
            <a:avLst/>
          </a:prstGeom>
        </p:spPr>
      </p:pic>
      <p:sp>
        <p:nvSpPr>
          <p:cNvPr id="1152" name="TextBox 1151">
            <a:extLst>
              <a:ext uri="{FF2B5EF4-FFF2-40B4-BE49-F238E27FC236}">
                <a16:creationId xmlns:a16="http://schemas.microsoft.com/office/drawing/2014/main" id="{C3282D6C-AF32-18DA-1A75-D4056EB79FED}"/>
              </a:ext>
            </a:extLst>
          </p:cNvPr>
          <p:cNvSpPr txBox="1"/>
          <p:nvPr/>
        </p:nvSpPr>
        <p:spPr>
          <a:xfrm>
            <a:off x="10604595" y="4093463"/>
            <a:ext cx="10208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Cost Effective</a:t>
            </a:r>
          </a:p>
        </p:txBody>
      </p:sp>
      <p:pic>
        <p:nvPicPr>
          <p:cNvPr id="1153" name="Picture 1152">
            <a:extLst>
              <a:ext uri="{FF2B5EF4-FFF2-40B4-BE49-F238E27FC236}">
                <a16:creationId xmlns:a16="http://schemas.microsoft.com/office/drawing/2014/main" id="{C4BC3B28-422B-6C17-4AB0-AD4D27819220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11483416" y="3469686"/>
            <a:ext cx="630223" cy="630223"/>
          </a:xfrm>
          <a:prstGeom prst="rect">
            <a:avLst/>
          </a:prstGeom>
        </p:spPr>
      </p:pic>
      <p:sp>
        <p:nvSpPr>
          <p:cNvPr id="1163" name="TextBox 1162">
            <a:extLst>
              <a:ext uri="{FF2B5EF4-FFF2-40B4-BE49-F238E27FC236}">
                <a16:creationId xmlns:a16="http://schemas.microsoft.com/office/drawing/2014/main" id="{6C32C76E-F4B8-3A47-A81D-6A295CD36BAC}"/>
              </a:ext>
            </a:extLst>
          </p:cNvPr>
          <p:cNvSpPr txBox="1"/>
          <p:nvPr/>
        </p:nvSpPr>
        <p:spPr>
          <a:xfrm>
            <a:off x="11451772" y="4111415"/>
            <a:ext cx="7402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/>
              <a:t>Building Loyalty</a:t>
            </a:r>
            <a:endParaRPr lang="en-US" sz="1000"/>
          </a:p>
        </p:txBody>
      </p:sp>
      <p:sp>
        <p:nvSpPr>
          <p:cNvPr id="1164" name="Chevron 1163">
            <a:extLst>
              <a:ext uri="{FF2B5EF4-FFF2-40B4-BE49-F238E27FC236}">
                <a16:creationId xmlns:a16="http://schemas.microsoft.com/office/drawing/2014/main" id="{EAC50292-2127-3745-CE39-6D6DF1A47A29}"/>
              </a:ext>
            </a:extLst>
          </p:cNvPr>
          <p:cNvSpPr/>
          <p:nvPr/>
        </p:nvSpPr>
        <p:spPr>
          <a:xfrm>
            <a:off x="8175171" y="3824635"/>
            <a:ext cx="171255" cy="289489"/>
          </a:xfrm>
          <a:prstGeom prst="chevron">
            <a:avLst/>
          </a:prstGeom>
          <a:solidFill>
            <a:srgbClr val="669CB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65" name="Chevron 1164">
            <a:extLst>
              <a:ext uri="{FF2B5EF4-FFF2-40B4-BE49-F238E27FC236}">
                <a16:creationId xmlns:a16="http://schemas.microsoft.com/office/drawing/2014/main" id="{28B41E70-F2FF-105B-306F-010D2250B94C}"/>
              </a:ext>
            </a:extLst>
          </p:cNvPr>
          <p:cNvSpPr/>
          <p:nvPr/>
        </p:nvSpPr>
        <p:spPr>
          <a:xfrm>
            <a:off x="8093251" y="3850450"/>
            <a:ext cx="137159" cy="234398"/>
          </a:xfrm>
          <a:prstGeom prst="chevron">
            <a:avLst/>
          </a:prstGeom>
          <a:solidFill>
            <a:srgbClr val="669CB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66" name="TextBox 1165">
            <a:extLst>
              <a:ext uri="{FF2B5EF4-FFF2-40B4-BE49-F238E27FC236}">
                <a16:creationId xmlns:a16="http://schemas.microsoft.com/office/drawing/2014/main" id="{F98EC4F0-FA1E-695D-24BD-E549A1229374}"/>
              </a:ext>
            </a:extLst>
          </p:cNvPr>
          <p:cNvSpPr txBox="1"/>
          <p:nvPr/>
        </p:nvSpPr>
        <p:spPr>
          <a:xfrm>
            <a:off x="4712782" y="4822654"/>
            <a:ext cx="3250713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>
                <a:solidFill>
                  <a:srgbClr val="FF0000"/>
                </a:solidFill>
              </a:rPr>
              <a:t>PROMOTING</a:t>
            </a:r>
            <a:r>
              <a:rPr lang="en-US" sz="1400"/>
              <a:t> OURSELF BY</a:t>
            </a:r>
            <a:endParaRPr lang="en-US"/>
          </a:p>
        </p:txBody>
      </p:sp>
      <p:cxnSp>
        <p:nvCxnSpPr>
          <p:cNvPr id="1175" name="Straight Connector 1174">
            <a:extLst>
              <a:ext uri="{FF2B5EF4-FFF2-40B4-BE49-F238E27FC236}">
                <a16:creationId xmlns:a16="http://schemas.microsoft.com/office/drawing/2014/main" id="{94581404-C5FA-C296-3A6F-CA1F2C301B5A}"/>
              </a:ext>
            </a:extLst>
          </p:cNvPr>
          <p:cNvCxnSpPr>
            <a:cxnSpLocks/>
          </p:cNvCxnSpPr>
          <p:nvPr/>
        </p:nvCxnSpPr>
        <p:spPr>
          <a:xfrm>
            <a:off x="4726069" y="5084238"/>
            <a:ext cx="2984507" cy="2331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1" name="Straight Connector 1190">
            <a:extLst>
              <a:ext uri="{FF2B5EF4-FFF2-40B4-BE49-F238E27FC236}">
                <a16:creationId xmlns:a16="http://schemas.microsoft.com/office/drawing/2014/main" id="{43F19F6A-3530-3605-F1B8-A2C9E5A786D8}"/>
              </a:ext>
            </a:extLst>
          </p:cNvPr>
          <p:cNvCxnSpPr>
            <a:cxnSpLocks/>
          </p:cNvCxnSpPr>
          <p:nvPr/>
        </p:nvCxnSpPr>
        <p:spPr>
          <a:xfrm>
            <a:off x="7724314" y="4872204"/>
            <a:ext cx="0" cy="148119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4" name="Picture 6" descr="Is There a French National Dish? On the History and Making of French Cuisine  ‹ Literary Hub">
            <a:extLst>
              <a:ext uri="{FF2B5EF4-FFF2-40B4-BE49-F238E27FC236}">
                <a16:creationId xmlns:a16="http://schemas.microsoft.com/office/drawing/2014/main" id="{643DB186-F2F6-03A8-978D-2ADD6D9057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5406" y="4943258"/>
            <a:ext cx="2315655" cy="1354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5" name="Picture 8" descr="Royal tables | Palace of Versailles">
            <a:extLst>
              <a:ext uri="{FF2B5EF4-FFF2-40B4-BE49-F238E27FC236}">
                <a16:creationId xmlns:a16="http://schemas.microsoft.com/office/drawing/2014/main" id="{9A220501-1012-5C6B-F2D2-A2E6DCF84C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7734" y="4938844"/>
            <a:ext cx="2023242" cy="1341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96" name="TextBox 1195">
            <a:extLst>
              <a:ext uri="{FF2B5EF4-FFF2-40B4-BE49-F238E27FC236}">
                <a16:creationId xmlns:a16="http://schemas.microsoft.com/office/drawing/2014/main" id="{CE7E3B25-F2E3-789E-FBEF-B95E73B0B5E0}"/>
              </a:ext>
            </a:extLst>
          </p:cNvPr>
          <p:cNvSpPr txBox="1"/>
          <p:nvPr/>
        </p:nvSpPr>
        <p:spPr>
          <a:xfrm>
            <a:off x="4700039" y="5128799"/>
            <a:ext cx="2940059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100"/>
              <a:t>Highlighting </a:t>
            </a:r>
            <a:r>
              <a:rPr lang="en-IN" sz="1100">
                <a:solidFill>
                  <a:srgbClr val="FF0000"/>
                </a:solidFill>
              </a:rPr>
              <a:t>historical inspiration </a:t>
            </a:r>
            <a:r>
              <a:rPr lang="en-IN" sz="1100"/>
              <a:t>behind dish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100">
                <a:solidFill>
                  <a:srgbClr val="FF0000"/>
                </a:solidFill>
              </a:rPr>
              <a:t>Featuring stories of French royalty </a:t>
            </a:r>
            <a:r>
              <a:rPr lang="en-IN" sz="1100"/>
              <a:t>and their dining trad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100"/>
              <a:t>Showing team dedication and personalized service in a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/>
              <a:t>A well known restaurant for </a:t>
            </a:r>
            <a:r>
              <a:rPr lang="en-US" sz="1100">
                <a:solidFill>
                  <a:srgbClr val="FF0000"/>
                </a:solidFill>
              </a:rPr>
              <a:t>Hospitality</a:t>
            </a:r>
          </a:p>
          <a:p>
            <a:endParaRPr lang="en-US" sz="1800"/>
          </a:p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96C2009-7537-73A3-5285-F483A1B1C2FA}"/>
              </a:ext>
            </a:extLst>
          </p:cNvPr>
          <p:cNvSpPr/>
          <p:nvPr/>
        </p:nvSpPr>
        <p:spPr>
          <a:xfrm>
            <a:off x="10700238" y="201557"/>
            <a:ext cx="1380127" cy="5398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3C34109-1DDF-E8CE-CED9-AA75C5F5ACBE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9749" y="211373"/>
            <a:ext cx="601441" cy="56606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6D1FCFC-D949-6A51-A0C1-7681F1CE5E44}"/>
              </a:ext>
            </a:extLst>
          </p:cNvPr>
          <p:cNvSpPr/>
          <p:nvPr/>
        </p:nvSpPr>
        <p:spPr>
          <a:xfrm>
            <a:off x="91972" y="3111758"/>
            <a:ext cx="4451240" cy="25870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ULTIMATE GOA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61259D9-2F50-D704-1FB6-B41DC883280E}"/>
              </a:ext>
            </a:extLst>
          </p:cNvPr>
          <p:cNvSpPr/>
          <p:nvPr/>
        </p:nvSpPr>
        <p:spPr>
          <a:xfrm>
            <a:off x="4909189" y="3107826"/>
            <a:ext cx="7191083" cy="25990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RECRUIT STUDENTS OF CULINARY ARTS FOR INTERNSHIP AS WELL AS PLACEMENT</a:t>
            </a:r>
          </a:p>
        </p:txBody>
      </p:sp>
      <p:sp>
        <p:nvSpPr>
          <p:cNvPr id="27" name="object 65">
            <a:extLst>
              <a:ext uri="{FF2B5EF4-FFF2-40B4-BE49-F238E27FC236}">
                <a16:creationId xmlns:a16="http://schemas.microsoft.com/office/drawing/2014/main" id="{B9B8AB18-01EB-59E7-A2FF-D70E1616EC1D}"/>
              </a:ext>
            </a:extLst>
          </p:cNvPr>
          <p:cNvSpPr txBox="1"/>
          <p:nvPr/>
        </p:nvSpPr>
        <p:spPr>
          <a:xfrm>
            <a:off x="88899" y="88867"/>
            <a:ext cx="10254993" cy="992579"/>
          </a:xfrm>
          <a:prstGeom prst="rect">
            <a:avLst/>
          </a:prstGeom>
        </p:spPr>
        <p:txBody>
          <a:bodyPr vert="horz" wrap="square" lIns="0" tIns="68580" rIns="0" bIns="0" rtlCol="0" anchor="t">
            <a:spAutoFit/>
          </a:bodyPr>
          <a:lstStyle/>
          <a:p>
            <a:pPr marL="12700">
              <a:lnSpc>
                <a:spcPct val="100000"/>
              </a:lnSpc>
              <a:spcBef>
                <a:spcPts val="540"/>
              </a:spcBef>
            </a:pPr>
            <a:r>
              <a:rPr lang="en-US" sz="2300" b="1">
                <a:latin typeface="Calibri"/>
                <a:cs typeface="Calibri"/>
              </a:rPr>
              <a:t>MARKETING STRATEGIES</a:t>
            </a:r>
            <a:endParaRPr sz="2300">
              <a:latin typeface="Calibri"/>
              <a:cs typeface="Calibri"/>
            </a:endParaRPr>
          </a:p>
          <a:p>
            <a:pPr marL="12700">
              <a:spcBef>
                <a:spcPts val="300"/>
              </a:spcBef>
            </a:pPr>
            <a:r>
              <a:rPr lang="en-US" sz="1600" i="1">
                <a:solidFill>
                  <a:schemeClr val="bg1">
                    <a:lumMod val="65000"/>
                  </a:schemeClr>
                </a:solidFill>
                <a:ea typeface="Calibri"/>
                <a:cs typeface="Calibri"/>
              </a:rPr>
              <a:t>How </a:t>
            </a:r>
            <a:r>
              <a:rPr lang="en-US" sz="1600" i="1">
                <a:solidFill>
                  <a:srgbClr val="FF0000"/>
                </a:solidFill>
                <a:ea typeface="+mn-lt"/>
                <a:cs typeface="+mn-lt"/>
              </a:rPr>
              <a:t>L’Élégance du Passé</a:t>
            </a:r>
            <a:r>
              <a:rPr lang="en-US" sz="1600" i="1">
                <a:solidFill>
                  <a:schemeClr val="bg1">
                    <a:lumMod val="65000"/>
                  </a:schemeClr>
                </a:solidFill>
                <a:ea typeface="+mn-lt"/>
                <a:cs typeface="+mn-lt"/>
              </a:rPr>
              <a:t> can Market itself to Distinguish itself from Competitors</a:t>
            </a:r>
            <a:endParaRPr lang="en-US" sz="1600" i="1">
              <a:solidFill>
                <a:schemeClr val="bg1">
                  <a:lumMod val="65000"/>
                </a:schemeClr>
              </a:solidFill>
              <a:ea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endParaRPr sz="1600" i="1">
              <a:solidFill>
                <a:schemeClr val="bg1">
                  <a:lumMod val="6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33" name="object 2">
            <a:extLst>
              <a:ext uri="{FF2B5EF4-FFF2-40B4-BE49-F238E27FC236}">
                <a16:creationId xmlns:a16="http://schemas.microsoft.com/office/drawing/2014/main" id="{85E02E9F-DCFA-4FFB-7C5C-6A56CE48DC12}"/>
              </a:ext>
            </a:extLst>
          </p:cNvPr>
          <p:cNvSpPr/>
          <p:nvPr/>
        </p:nvSpPr>
        <p:spPr>
          <a:xfrm>
            <a:off x="8295594" y="6385872"/>
            <a:ext cx="1393787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FFB48E-8FB8-291C-1363-03F58C4D8074}"/>
              </a:ext>
            </a:extLst>
          </p:cNvPr>
          <p:cNvSpPr/>
          <p:nvPr/>
        </p:nvSpPr>
        <p:spPr>
          <a:xfrm>
            <a:off x="0" y="6370785"/>
            <a:ext cx="12192000" cy="5027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37" name="object 81">
            <a:extLst>
              <a:ext uri="{FF2B5EF4-FFF2-40B4-BE49-F238E27FC236}">
                <a16:creationId xmlns:a16="http://schemas.microsoft.com/office/drawing/2014/main" id="{B24812CD-BFFD-7BBD-1F61-79A4AAB47A2D}"/>
              </a:ext>
            </a:extLst>
          </p:cNvPr>
          <p:cNvSpPr txBox="1">
            <a:spLocks/>
          </p:cNvSpPr>
          <p:nvPr/>
        </p:nvSpPr>
        <p:spPr>
          <a:xfrm>
            <a:off x="11732386" y="650354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US" spc="-50"/>
              <a:t>4</a:t>
            </a:r>
            <a:endParaRPr lang="en-IN" spc="-5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6BB4722-2EED-7053-E170-DACBCA87A0A1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39" name="object 2">
            <a:extLst>
              <a:ext uri="{FF2B5EF4-FFF2-40B4-BE49-F238E27FC236}">
                <a16:creationId xmlns:a16="http://schemas.microsoft.com/office/drawing/2014/main" id="{AFECF4A8-3B36-79C8-BF29-F8E1F71936F5}"/>
              </a:ext>
            </a:extLst>
          </p:cNvPr>
          <p:cNvSpPr/>
          <p:nvPr/>
        </p:nvSpPr>
        <p:spPr>
          <a:xfrm>
            <a:off x="6977219" y="6391968"/>
            <a:ext cx="1151890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67CFCE4-9103-D450-0340-E3538EE8FFBF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2788E29-439C-CA43-438B-B97D859FFBE9}"/>
              </a:ext>
            </a:extLst>
          </p:cNvPr>
          <p:cNvSpPr txBox="1"/>
          <p:nvPr/>
        </p:nvSpPr>
        <p:spPr>
          <a:xfrm>
            <a:off x="397092" y="6441627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Research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05F3674-3F76-DEBB-6664-C2E0F7BAD95B}"/>
              </a:ext>
            </a:extLst>
          </p:cNvPr>
          <p:cNvSpPr txBox="1"/>
          <p:nvPr/>
        </p:nvSpPr>
        <p:spPr>
          <a:xfrm>
            <a:off x="2067459" y="6441730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Entry Strategy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5D0B3E1-BD11-9843-D60B-C5CADF05094F}"/>
              </a:ext>
            </a:extLst>
          </p:cNvPr>
          <p:cNvSpPr txBox="1"/>
          <p:nvPr/>
        </p:nvSpPr>
        <p:spPr>
          <a:xfrm>
            <a:off x="4141781" y="6452763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Customer Value Propositio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9B85F6B-A67F-53B8-115E-373DE9484319}"/>
              </a:ext>
            </a:extLst>
          </p:cNvPr>
          <p:cNvSpPr txBox="1"/>
          <p:nvPr/>
        </p:nvSpPr>
        <p:spPr>
          <a:xfrm>
            <a:off x="6623801" y="6460634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C00000"/>
                </a:solidFill>
              </a:rPr>
              <a:t>Marketing &amp; Promoti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DD915D1-EF8E-6E92-8626-38E258C2CB54}"/>
              </a:ext>
            </a:extLst>
          </p:cNvPr>
          <p:cNvSpPr txBox="1"/>
          <p:nvPr/>
        </p:nvSpPr>
        <p:spPr>
          <a:xfrm>
            <a:off x="8689690" y="6466465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Size &amp; Timelin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5DD98C6-D8C4-9D50-6DA3-83D6BBD8FFFF}"/>
              </a:ext>
            </a:extLst>
          </p:cNvPr>
          <p:cNvSpPr txBox="1"/>
          <p:nvPr/>
        </p:nvSpPr>
        <p:spPr>
          <a:xfrm>
            <a:off x="10293355" y="6452246"/>
            <a:ext cx="1239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Appendix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A301326B-46A7-8233-1D0B-3895B8431B2A}"/>
              </a:ext>
            </a:extLst>
          </p:cNvPr>
          <p:cNvCxnSpPr>
            <a:cxnSpLocks/>
          </p:cNvCxnSpPr>
          <p:nvPr/>
        </p:nvCxnSpPr>
        <p:spPr>
          <a:xfrm>
            <a:off x="65660" y="6393717"/>
            <a:ext cx="1192396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AB8B75E-7690-D6EB-A3C0-8406C6E990EB}"/>
              </a:ext>
            </a:extLst>
          </p:cNvPr>
          <p:cNvCxnSpPr/>
          <p:nvPr/>
        </p:nvCxnSpPr>
        <p:spPr>
          <a:xfrm>
            <a:off x="16436" y="30410"/>
            <a:ext cx="0" cy="688115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6DCF14-AFEE-3D93-0E41-0EFFD50E1139}"/>
              </a:ext>
            </a:extLst>
          </p:cNvPr>
          <p:cNvCxnSpPr>
            <a:cxnSpLocks/>
          </p:cNvCxnSpPr>
          <p:nvPr/>
        </p:nvCxnSpPr>
        <p:spPr>
          <a:xfrm>
            <a:off x="12171651" y="0"/>
            <a:ext cx="0" cy="6932826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A4F0942-FEC5-62C3-F8E3-EBF2BBDCBB14}"/>
              </a:ext>
            </a:extLst>
          </p:cNvPr>
          <p:cNvCxnSpPr>
            <a:cxnSpLocks/>
          </p:cNvCxnSpPr>
          <p:nvPr/>
        </p:nvCxnSpPr>
        <p:spPr>
          <a:xfrm flipH="1">
            <a:off x="11109" y="6841021"/>
            <a:ext cx="1216054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87071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534523A-55FC-4963-6864-BECD9DA309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215C33F-863B-7384-69A1-4E38BB96DC94}"/>
              </a:ext>
            </a:extLst>
          </p:cNvPr>
          <p:cNvSpPr/>
          <p:nvPr/>
        </p:nvSpPr>
        <p:spPr>
          <a:xfrm>
            <a:off x="4077487" y="1421382"/>
            <a:ext cx="7926756" cy="33633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0B08B89-7374-2B4B-6BC7-2C691F480C05}"/>
              </a:ext>
            </a:extLst>
          </p:cNvPr>
          <p:cNvSpPr/>
          <p:nvPr/>
        </p:nvSpPr>
        <p:spPr>
          <a:xfrm>
            <a:off x="3443768" y="5408250"/>
            <a:ext cx="1290889" cy="806527"/>
          </a:xfrm>
          <a:prstGeom prst="rect">
            <a:avLst/>
          </a:prstGeom>
          <a:noFill/>
          <a:ln w="19050">
            <a:solidFill>
              <a:srgbClr val="FF6147"/>
            </a:solidFill>
            <a:prstDash val="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6D3C413-EBCF-5B2B-CE70-1E318DAC7116}"/>
              </a:ext>
            </a:extLst>
          </p:cNvPr>
          <p:cNvSpPr/>
          <p:nvPr/>
        </p:nvSpPr>
        <p:spPr>
          <a:xfrm>
            <a:off x="9543253" y="5413303"/>
            <a:ext cx="2460992" cy="806527"/>
          </a:xfrm>
          <a:prstGeom prst="rect">
            <a:avLst/>
          </a:prstGeom>
          <a:noFill/>
          <a:ln w="19050">
            <a:solidFill>
              <a:srgbClr val="FF6147"/>
            </a:solidFill>
            <a:prstDash val="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A0215B5-63B5-6CC6-1950-CDFEAA3174F5}"/>
              </a:ext>
            </a:extLst>
          </p:cNvPr>
          <p:cNvSpPr/>
          <p:nvPr/>
        </p:nvSpPr>
        <p:spPr>
          <a:xfrm>
            <a:off x="5112192" y="5417427"/>
            <a:ext cx="2460992" cy="806527"/>
          </a:xfrm>
          <a:prstGeom prst="rect">
            <a:avLst/>
          </a:prstGeom>
          <a:noFill/>
          <a:ln w="19050">
            <a:solidFill>
              <a:srgbClr val="FF6147"/>
            </a:solidFill>
            <a:prstDash val="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4" name="Flowchart: Merge 13">
            <a:extLst>
              <a:ext uri="{FF2B5EF4-FFF2-40B4-BE49-F238E27FC236}">
                <a16:creationId xmlns:a16="http://schemas.microsoft.com/office/drawing/2014/main" id="{429D7889-483D-9A14-AC5B-333608531185}"/>
              </a:ext>
            </a:extLst>
          </p:cNvPr>
          <p:cNvSpPr/>
          <p:nvPr/>
        </p:nvSpPr>
        <p:spPr>
          <a:xfrm>
            <a:off x="540322" y="1935800"/>
            <a:ext cx="2947054" cy="2393005"/>
          </a:xfrm>
          <a:prstGeom prst="flowChartMerg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45" name="object 65">
            <a:extLst>
              <a:ext uri="{FF2B5EF4-FFF2-40B4-BE49-F238E27FC236}">
                <a16:creationId xmlns:a16="http://schemas.microsoft.com/office/drawing/2014/main" id="{52231B70-A0E0-C132-1B3E-D084065123CD}"/>
              </a:ext>
            </a:extLst>
          </p:cNvPr>
          <p:cNvSpPr txBox="1"/>
          <p:nvPr/>
        </p:nvSpPr>
        <p:spPr>
          <a:xfrm>
            <a:off x="88899" y="88867"/>
            <a:ext cx="10254993" cy="707886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40"/>
              </a:spcBef>
            </a:pPr>
            <a:r>
              <a:rPr lang="en-US" sz="2300" b="1">
                <a:latin typeface="Calibri"/>
                <a:cs typeface="Calibri"/>
              </a:rPr>
              <a:t>GO TO MARKET – SIZE AND TIMELINE</a:t>
            </a: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r>
              <a:rPr lang="en-US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Estimating the </a:t>
            </a:r>
            <a:r>
              <a:rPr lang="en-US" sz="1600" i="1">
                <a:solidFill>
                  <a:srgbClr val="C00000"/>
                </a:solidFill>
                <a:latin typeface="Calibri"/>
                <a:cs typeface="Calibri"/>
              </a:rPr>
              <a:t>Market Size &amp; Time required </a:t>
            </a:r>
            <a:r>
              <a:rPr lang="en-US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for Establishment and Growth</a:t>
            </a:r>
            <a:endParaRPr lang="en-IN" sz="1600" i="1">
              <a:solidFill>
                <a:schemeClr val="bg1">
                  <a:lumMod val="6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61" name="object 81">
            <a:extLst>
              <a:ext uri="{FF2B5EF4-FFF2-40B4-BE49-F238E27FC236}">
                <a16:creationId xmlns:a16="http://schemas.microsoft.com/office/drawing/2014/main" id="{EFB74743-F297-50BE-243F-6CFD286E5B63}"/>
              </a:ext>
            </a:extLst>
          </p:cNvPr>
          <p:cNvSpPr txBox="1">
            <a:spLocks/>
          </p:cNvSpPr>
          <p:nvPr/>
        </p:nvSpPr>
        <p:spPr>
          <a:xfrm>
            <a:off x="11732386" y="650354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US" spc="-50"/>
              <a:t>5</a:t>
            </a:r>
            <a:endParaRPr lang="en-IN" spc="-5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C742B0-D5EC-B1A0-F4BB-71AA73665C3E}"/>
              </a:ext>
            </a:extLst>
          </p:cNvPr>
          <p:cNvSpPr/>
          <p:nvPr/>
        </p:nvSpPr>
        <p:spPr>
          <a:xfrm>
            <a:off x="10700238" y="201557"/>
            <a:ext cx="1380127" cy="5398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4" name="Chart 3">
                <a:extLst>
                  <a:ext uri="{FF2B5EF4-FFF2-40B4-BE49-F238E27FC236}">
                    <a16:creationId xmlns:a16="http://schemas.microsoft.com/office/drawing/2014/main" id="{7540BB4F-2AF2-1D14-CCFA-0DE33CAF1F0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6025647"/>
                  </p:ext>
                </p:extLst>
              </p:nvPr>
            </p:nvGraphicFramePr>
            <p:xfrm>
              <a:off x="2032000" y="5648824"/>
              <a:ext cx="594468" cy="48950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4" name="Chart 3">
                <a:extLst>
                  <a:ext uri="{FF2B5EF4-FFF2-40B4-BE49-F238E27FC236}">
                    <a16:creationId xmlns:a16="http://schemas.microsoft.com/office/drawing/2014/main" id="{7540BB4F-2AF2-1D14-CCFA-0DE33CAF1F0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32000" y="5648824"/>
                <a:ext cx="594468" cy="489509"/>
              </a:xfrm>
              <a:prstGeom prst="rect">
                <a:avLst/>
              </a:prstGeom>
            </p:spPr>
          </p:pic>
        </mc:Fallback>
      </mc:AlternateContent>
      <p:sp>
        <p:nvSpPr>
          <p:cNvPr id="2" name="Rectangle 1">
            <a:extLst>
              <a:ext uri="{FF2B5EF4-FFF2-40B4-BE49-F238E27FC236}">
                <a16:creationId xmlns:a16="http://schemas.microsoft.com/office/drawing/2014/main" id="{95FD26A8-3183-502B-2076-DF97757DF22F}"/>
              </a:ext>
            </a:extLst>
          </p:cNvPr>
          <p:cNvSpPr/>
          <p:nvPr/>
        </p:nvSpPr>
        <p:spPr>
          <a:xfrm>
            <a:off x="123124" y="646290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5FE7742-D457-90F7-8AEA-AB86BEC31F8D}"/>
              </a:ext>
            </a:extLst>
          </p:cNvPr>
          <p:cNvSpPr txBox="1"/>
          <p:nvPr/>
        </p:nvSpPr>
        <p:spPr>
          <a:xfrm>
            <a:off x="397092" y="6441627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Resear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A9DBF-1236-DCFA-FC6C-0284972E408D}"/>
              </a:ext>
            </a:extLst>
          </p:cNvPr>
          <p:cNvSpPr txBox="1"/>
          <p:nvPr/>
        </p:nvSpPr>
        <p:spPr>
          <a:xfrm>
            <a:off x="2067459" y="6441730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Entry Strateg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C5D0CF-61CC-AB54-5A83-E5115E02D277}"/>
              </a:ext>
            </a:extLst>
          </p:cNvPr>
          <p:cNvSpPr txBox="1"/>
          <p:nvPr/>
        </p:nvSpPr>
        <p:spPr>
          <a:xfrm>
            <a:off x="4141781" y="6452763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Customer Value Proposi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176614-1664-B636-1626-81C00D689431}"/>
              </a:ext>
            </a:extLst>
          </p:cNvPr>
          <p:cNvSpPr txBox="1"/>
          <p:nvPr/>
        </p:nvSpPr>
        <p:spPr>
          <a:xfrm>
            <a:off x="6623801" y="6460634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ing &amp; Promo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DC0F15-736B-0C62-A70E-F99FC706BB51}"/>
              </a:ext>
            </a:extLst>
          </p:cNvPr>
          <p:cNvSpPr txBox="1"/>
          <p:nvPr/>
        </p:nvSpPr>
        <p:spPr>
          <a:xfrm>
            <a:off x="10293355" y="6452246"/>
            <a:ext cx="1239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Appendix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4E6ABA1-C786-5A8C-495F-2140340DE242}"/>
              </a:ext>
            </a:extLst>
          </p:cNvPr>
          <p:cNvSpPr txBox="1"/>
          <p:nvPr/>
        </p:nvSpPr>
        <p:spPr>
          <a:xfrm>
            <a:off x="8538381" y="1187561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ELABORATIV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8C1EBB7-4B1E-3BDB-A0F8-BB1ED0F393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9749" y="211373"/>
            <a:ext cx="601441" cy="566062"/>
          </a:xfrm>
          <a:prstGeom prst="rect">
            <a:avLst/>
          </a:prstGeom>
        </p:spPr>
      </p:pic>
      <p:sp>
        <p:nvSpPr>
          <p:cNvPr id="8" name="Flowchart: Magnetic Disk 7">
            <a:extLst>
              <a:ext uri="{FF2B5EF4-FFF2-40B4-BE49-F238E27FC236}">
                <a16:creationId xmlns:a16="http://schemas.microsoft.com/office/drawing/2014/main" id="{706F5626-D98D-4B51-D373-C58C3D31A770}"/>
              </a:ext>
            </a:extLst>
          </p:cNvPr>
          <p:cNvSpPr/>
          <p:nvPr/>
        </p:nvSpPr>
        <p:spPr>
          <a:xfrm>
            <a:off x="174003" y="1031238"/>
            <a:ext cx="3710730" cy="1011676"/>
          </a:xfrm>
          <a:prstGeom prst="flowChartMagneticDisk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2" name="Flowchart: Magnetic Disk 11">
            <a:extLst>
              <a:ext uri="{FF2B5EF4-FFF2-40B4-BE49-F238E27FC236}">
                <a16:creationId xmlns:a16="http://schemas.microsoft.com/office/drawing/2014/main" id="{FF282CA2-70E4-712F-A8AC-5822F4906B4C}"/>
              </a:ext>
            </a:extLst>
          </p:cNvPr>
          <p:cNvSpPr/>
          <p:nvPr/>
        </p:nvSpPr>
        <p:spPr>
          <a:xfrm>
            <a:off x="420064" y="2229904"/>
            <a:ext cx="3069106" cy="1011676"/>
          </a:xfrm>
          <a:prstGeom prst="flowChartMagneticDisk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3" name="Flowchart: Magnetic Disk 12">
            <a:extLst>
              <a:ext uri="{FF2B5EF4-FFF2-40B4-BE49-F238E27FC236}">
                <a16:creationId xmlns:a16="http://schemas.microsoft.com/office/drawing/2014/main" id="{8E9F5A84-72AE-3A06-0DBE-FBCFBFA2603A}"/>
              </a:ext>
            </a:extLst>
          </p:cNvPr>
          <p:cNvSpPr/>
          <p:nvPr/>
        </p:nvSpPr>
        <p:spPr>
          <a:xfrm>
            <a:off x="747123" y="3460876"/>
            <a:ext cx="2414986" cy="1011676"/>
          </a:xfrm>
          <a:prstGeom prst="flowChartMagneticDisk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8677EC8-A3D0-F40A-E079-01E0CC608EFD}"/>
              </a:ext>
            </a:extLst>
          </p:cNvPr>
          <p:cNvSpPr/>
          <p:nvPr/>
        </p:nvSpPr>
        <p:spPr>
          <a:xfrm>
            <a:off x="174003" y="995782"/>
            <a:ext cx="3728560" cy="352772"/>
          </a:xfrm>
          <a:prstGeom prst="ellipse">
            <a:avLst/>
          </a:prstGeom>
          <a:solidFill>
            <a:srgbClr val="EFC3A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5EDA94A-4DE3-241B-0C79-DB177D800559}"/>
              </a:ext>
            </a:extLst>
          </p:cNvPr>
          <p:cNvSpPr/>
          <p:nvPr/>
        </p:nvSpPr>
        <p:spPr>
          <a:xfrm>
            <a:off x="416990" y="2224717"/>
            <a:ext cx="3069106" cy="352772"/>
          </a:xfrm>
          <a:prstGeom prst="ellipse">
            <a:avLst/>
          </a:prstGeom>
          <a:solidFill>
            <a:srgbClr val="EFC3A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9890413-0CD4-2C34-3EF3-F6A37554E53E}"/>
              </a:ext>
            </a:extLst>
          </p:cNvPr>
          <p:cNvSpPr/>
          <p:nvPr/>
        </p:nvSpPr>
        <p:spPr>
          <a:xfrm>
            <a:off x="756851" y="3456235"/>
            <a:ext cx="2414986" cy="367504"/>
          </a:xfrm>
          <a:prstGeom prst="ellipse">
            <a:avLst/>
          </a:prstGeom>
          <a:solidFill>
            <a:srgbClr val="EFC3A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F3002FD-66FA-4199-CF7D-EEF2768D34E8}"/>
              </a:ext>
            </a:extLst>
          </p:cNvPr>
          <p:cNvSpPr txBox="1"/>
          <p:nvPr/>
        </p:nvSpPr>
        <p:spPr>
          <a:xfrm>
            <a:off x="534190" y="1009914"/>
            <a:ext cx="29438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>
                <a:solidFill>
                  <a:schemeClr val="bg1"/>
                </a:solidFill>
              </a:rPr>
              <a:t>Target Addressable marke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FA612-C501-C7BB-2DE5-C4C063BE9AC7}"/>
              </a:ext>
            </a:extLst>
          </p:cNvPr>
          <p:cNvSpPr txBox="1"/>
          <p:nvPr/>
        </p:nvSpPr>
        <p:spPr>
          <a:xfrm>
            <a:off x="504218" y="2220038"/>
            <a:ext cx="29438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>
                <a:solidFill>
                  <a:schemeClr val="bg1"/>
                </a:solidFill>
              </a:rPr>
              <a:t>Serviceable  Addressable marke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F0C4A0E-97C9-535C-0F9E-2AEC261EF8CD}"/>
              </a:ext>
            </a:extLst>
          </p:cNvPr>
          <p:cNvSpPr txBox="1"/>
          <p:nvPr/>
        </p:nvSpPr>
        <p:spPr>
          <a:xfrm>
            <a:off x="568205" y="3462687"/>
            <a:ext cx="28055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b="1">
                <a:solidFill>
                  <a:schemeClr val="bg1"/>
                </a:solidFill>
              </a:rPr>
              <a:t>Serviceable Obtainable marke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7748DCA-0584-39B2-C2F1-DEC1B48135A1}"/>
              </a:ext>
            </a:extLst>
          </p:cNvPr>
          <p:cNvCxnSpPr>
            <a:cxnSpLocks/>
          </p:cNvCxnSpPr>
          <p:nvPr/>
        </p:nvCxnSpPr>
        <p:spPr>
          <a:xfrm>
            <a:off x="3959148" y="904672"/>
            <a:ext cx="0" cy="412094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560E0F3-F277-9D0F-B397-39A9CC7A553D}"/>
              </a:ext>
            </a:extLst>
          </p:cNvPr>
          <p:cNvSpPr txBox="1"/>
          <p:nvPr/>
        </p:nvSpPr>
        <p:spPr>
          <a:xfrm>
            <a:off x="1303400" y="1497338"/>
            <a:ext cx="2014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$ 7.35 bill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B7347B4-C586-A0BD-9127-7F8275EC4762}"/>
              </a:ext>
            </a:extLst>
          </p:cNvPr>
          <p:cNvSpPr txBox="1"/>
          <p:nvPr/>
        </p:nvSpPr>
        <p:spPr>
          <a:xfrm>
            <a:off x="1281811" y="2768374"/>
            <a:ext cx="2014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$1.65 bill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226511-1243-B205-6D41-9255C053103B}"/>
              </a:ext>
            </a:extLst>
          </p:cNvPr>
          <p:cNvSpPr txBox="1"/>
          <p:nvPr/>
        </p:nvSpPr>
        <p:spPr>
          <a:xfrm>
            <a:off x="1233170" y="3971455"/>
            <a:ext cx="2014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$ 87.5 mill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5483F62-6143-E713-0EFA-E415A91272F9}"/>
              </a:ext>
            </a:extLst>
          </p:cNvPr>
          <p:cNvSpPr txBox="1"/>
          <p:nvPr/>
        </p:nvSpPr>
        <p:spPr>
          <a:xfrm>
            <a:off x="766485" y="4563154"/>
            <a:ext cx="33110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C00000"/>
                </a:solidFill>
              </a:rPr>
              <a:t>Estimat</a:t>
            </a:r>
            <a:r>
              <a:rPr lang="en-IN" sz="1400"/>
              <a:t>ing an obtainable  Ma</a:t>
            </a:r>
            <a:r>
              <a:rPr lang="en-IN" sz="1400">
                <a:solidFill>
                  <a:srgbClr val="C00000"/>
                </a:solidFill>
              </a:rPr>
              <a:t>rket S</a:t>
            </a:r>
            <a:r>
              <a:rPr lang="en-IN" sz="1400"/>
              <a:t>ize in this </a:t>
            </a:r>
            <a:r>
              <a:rPr lang="en-IN" sz="1400">
                <a:solidFill>
                  <a:srgbClr val="C00000"/>
                </a:solidFill>
              </a:rPr>
              <a:t>Competitive Market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FEAE8AA-EA2C-8D04-32E7-698F9294290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74" y="4613780"/>
            <a:ext cx="411832" cy="411832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8CCEAB5-280F-5C9C-C290-3893C75ADC49}"/>
              </a:ext>
            </a:extLst>
          </p:cNvPr>
          <p:cNvCxnSpPr>
            <a:cxnSpLocks/>
          </p:cNvCxnSpPr>
          <p:nvPr/>
        </p:nvCxnSpPr>
        <p:spPr>
          <a:xfrm flipH="1">
            <a:off x="123124" y="5048694"/>
            <a:ext cx="3836024" cy="375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C6545972-7C0A-EBE2-7326-50C77A6D7C2C}"/>
              </a:ext>
            </a:extLst>
          </p:cNvPr>
          <p:cNvSpPr/>
          <p:nvPr/>
        </p:nvSpPr>
        <p:spPr>
          <a:xfrm>
            <a:off x="5712637" y="4804816"/>
            <a:ext cx="3745143" cy="36209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400" b="1">
                <a:solidFill>
                  <a:schemeClr val="bg1"/>
                </a:solidFill>
              </a:rPr>
              <a:t>Must Win Ba</a:t>
            </a:r>
            <a:r>
              <a:rPr lang="en-IN" sz="1400" b="1">
                <a:solidFill>
                  <a:schemeClr val="tx1"/>
                </a:solidFill>
              </a:rPr>
              <a:t>ttles To </a:t>
            </a:r>
            <a:r>
              <a:rPr lang="en-IN" sz="1400" b="1">
                <a:solidFill>
                  <a:schemeClr val="bg1"/>
                </a:solidFill>
              </a:rPr>
              <a:t>Acquire Mark</a:t>
            </a:r>
            <a:r>
              <a:rPr lang="en-IN" sz="1400" b="1">
                <a:solidFill>
                  <a:schemeClr val="tx1"/>
                </a:solidFill>
              </a:rPr>
              <a:t>et Leadership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2B56E28-5B26-8AA9-8AEE-BEBC46623039}"/>
              </a:ext>
            </a:extLst>
          </p:cNvPr>
          <p:cNvSpPr/>
          <p:nvPr/>
        </p:nvSpPr>
        <p:spPr>
          <a:xfrm>
            <a:off x="603159" y="5411291"/>
            <a:ext cx="2460992" cy="806527"/>
          </a:xfrm>
          <a:prstGeom prst="rect">
            <a:avLst/>
          </a:prstGeom>
          <a:noFill/>
          <a:ln w="19050">
            <a:solidFill>
              <a:srgbClr val="FF6147"/>
            </a:solidFill>
            <a:prstDash val="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1C3A78B-44EC-1AD5-10B2-9E6D13B005B9}"/>
              </a:ext>
            </a:extLst>
          </p:cNvPr>
          <p:cNvSpPr/>
          <p:nvPr/>
        </p:nvSpPr>
        <p:spPr>
          <a:xfrm>
            <a:off x="4959257" y="5080873"/>
            <a:ext cx="840291" cy="888552"/>
          </a:xfrm>
          <a:prstGeom prst="ellipse">
            <a:avLst/>
          </a:prstGeom>
          <a:solidFill>
            <a:schemeClr val="bg1"/>
          </a:solidFill>
          <a:ln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67F0C17-FCE9-56E0-0E3D-52DE741A7936}"/>
              </a:ext>
            </a:extLst>
          </p:cNvPr>
          <p:cNvSpPr/>
          <p:nvPr/>
        </p:nvSpPr>
        <p:spPr>
          <a:xfrm>
            <a:off x="451438" y="5061255"/>
            <a:ext cx="840291" cy="888552"/>
          </a:xfrm>
          <a:prstGeom prst="ellipse">
            <a:avLst/>
          </a:prstGeom>
          <a:solidFill>
            <a:schemeClr val="bg1"/>
          </a:solidFill>
          <a:ln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8AE6C99A-CEB7-25D2-CC96-32ED735CA3F0}"/>
              </a:ext>
            </a:extLst>
          </p:cNvPr>
          <p:cNvSpPr/>
          <p:nvPr/>
        </p:nvSpPr>
        <p:spPr>
          <a:xfrm>
            <a:off x="9357242" y="5041961"/>
            <a:ext cx="840291" cy="888552"/>
          </a:xfrm>
          <a:prstGeom prst="ellipse">
            <a:avLst/>
          </a:prstGeom>
          <a:solidFill>
            <a:schemeClr val="bg1"/>
          </a:solidFill>
          <a:ln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6F4463F-6F09-4329-6DC6-8C1013467810}"/>
              </a:ext>
            </a:extLst>
          </p:cNvPr>
          <p:cNvSpPr txBox="1"/>
          <p:nvPr/>
        </p:nvSpPr>
        <p:spPr>
          <a:xfrm>
            <a:off x="1317066" y="5384195"/>
            <a:ext cx="16813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b="1"/>
              <a:t>Market Competi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D51EEC8-525F-D81B-A50D-D65ED94B3DDD}"/>
              </a:ext>
            </a:extLst>
          </p:cNvPr>
          <p:cNvSpPr txBox="1"/>
          <p:nvPr/>
        </p:nvSpPr>
        <p:spPr>
          <a:xfrm>
            <a:off x="5523165" y="5399236"/>
            <a:ext cx="2236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b="1"/>
              <a:t>Unforgettable Brand </a:t>
            </a:r>
          </a:p>
          <a:p>
            <a:pPr algn="ctr"/>
            <a:r>
              <a:rPr lang="en-IN" sz="1200" b="1"/>
              <a:t>Identity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863C4D5-3D9D-6EF2-36C6-D787DCEA8EA9}"/>
              </a:ext>
            </a:extLst>
          </p:cNvPr>
          <p:cNvSpPr txBox="1"/>
          <p:nvPr/>
        </p:nvSpPr>
        <p:spPr>
          <a:xfrm>
            <a:off x="9985715" y="5397166"/>
            <a:ext cx="2260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b="1"/>
              <a:t>Regulatory Complications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3D489CC5-DAC1-5CEC-7F47-4334505B80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59" y="5261843"/>
            <a:ext cx="547980" cy="547980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04627F8A-1094-CE4A-7D52-DA4A3EC5C9F8}"/>
              </a:ext>
            </a:extLst>
          </p:cNvPr>
          <p:cNvSpPr/>
          <p:nvPr/>
        </p:nvSpPr>
        <p:spPr>
          <a:xfrm>
            <a:off x="7845056" y="5413302"/>
            <a:ext cx="1452009" cy="798925"/>
          </a:xfrm>
          <a:prstGeom prst="rect">
            <a:avLst/>
          </a:prstGeom>
          <a:noFill/>
          <a:ln w="19050">
            <a:solidFill>
              <a:srgbClr val="FF6147"/>
            </a:solidFill>
            <a:prstDash val="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757DE38F-A61B-B49E-2BAE-8DEBEDA74BD5}"/>
              </a:ext>
            </a:extLst>
          </p:cNvPr>
          <p:cNvSpPr/>
          <p:nvPr/>
        </p:nvSpPr>
        <p:spPr>
          <a:xfrm>
            <a:off x="3229907" y="5224767"/>
            <a:ext cx="525086" cy="547137"/>
          </a:xfrm>
          <a:prstGeom prst="ellipse">
            <a:avLst/>
          </a:prstGeom>
          <a:solidFill>
            <a:schemeClr val="bg1"/>
          </a:solidFill>
          <a:ln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170030F9-E5C9-4F66-59F9-76F0694FCDEF}"/>
              </a:ext>
            </a:extLst>
          </p:cNvPr>
          <p:cNvSpPr/>
          <p:nvPr/>
        </p:nvSpPr>
        <p:spPr>
          <a:xfrm>
            <a:off x="7761019" y="5204847"/>
            <a:ext cx="525086" cy="547137"/>
          </a:xfrm>
          <a:prstGeom prst="ellipse">
            <a:avLst/>
          </a:prstGeom>
          <a:solidFill>
            <a:schemeClr val="bg1"/>
          </a:solidFill>
          <a:ln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05372325-F96F-4F63-362B-1A61BD9684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8072" y="5308741"/>
            <a:ext cx="369332" cy="369332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84811ADD-C897-0512-A7D0-568BC6999BF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2404" y="5261843"/>
            <a:ext cx="369633" cy="369633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D1C15A25-9410-16DD-F6E6-11075038B70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6346" y="5233577"/>
            <a:ext cx="593568" cy="593568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4A9C6528-99DD-A03C-3EA8-DF4B16E226C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4655" y="5233577"/>
            <a:ext cx="551748" cy="551748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F10D7F8C-34F4-C1D1-91F6-B63572765020}"/>
              </a:ext>
            </a:extLst>
          </p:cNvPr>
          <p:cNvSpPr txBox="1"/>
          <p:nvPr/>
        </p:nvSpPr>
        <p:spPr>
          <a:xfrm>
            <a:off x="896243" y="5567409"/>
            <a:ext cx="24515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           To succeed, we must outsmart        .</a:t>
            </a:r>
            <a:endParaRPr lang="en-IN" sz="100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4056A47-9672-E069-AD5D-690B692DFA88}"/>
              </a:ext>
            </a:extLst>
          </p:cNvPr>
          <p:cNvSpPr txBox="1"/>
          <p:nvPr/>
        </p:nvSpPr>
        <p:spPr>
          <a:xfrm>
            <a:off x="564242" y="5756070"/>
            <a:ext cx="24515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           competitors with innovative.</a:t>
            </a:r>
            <a:endParaRPr lang="en-IN" sz="100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665416F-A551-FF5F-47FD-F24E0379CE8C}"/>
              </a:ext>
            </a:extLst>
          </p:cNvPr>
          <p:cNvSpPr txBox="1"/>
          <p:nvPr/>
        </p:nvSpPr>
        <p:spPr>
          <a:xfrm>
            <a:off x="361462" y="5928195"/>
            <a:ext cx="24515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                  strategies, exceptional service..</a:t>
            </a:r>
            <a:endParaRPr lang="en-IN" sz="100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6EFEACD-4D6C-2304-AECB-1A564924C29B}"/>
              </a:ext>
            </a:extLst>
          </p:cNvPr>
          <p:cNvSpPr txBox="1"/>
          <p:nvPr/>
        </p:nvSpPr>
        <p:spPr>
          <a:xfrm>
            <a:off x="5126462" y="5769694"/>
            <a:ext cx="24515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                  Building an unforgettable Brand.</a:t>
            </a:r>
            <a:endParaRPr lang="en-IN" sz="100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92483FB-2DFF-0301-E096-BB6F8C7A9144}"/>
              </a:ext>
            </a:extLst>
          </p:cNvPr>
          <p:cNvSpPr txBox="1"/>
          <p:nvPr/>
        </p:nvSpPr>
        <p:spPr>
          <a:xfrm>
            <a:off x="4481852" y="5929686"/>
            <a:ext cx="33695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                  identity requires creativity &amp; connection </a:t>
            </a:r>
            <a:endParaRPr lang="en-IN" sz="1000"/>
          </a:p>
        </p:txBody>
      </p:sp>
      <p:graphicFrame>
        <p:nvGraphicFramePr>
          <p:cNvPr id="85" name="Chart 84">
            <a:extLst>
              <a:ext uri="{FF2B5EF4-FFF2-40B4-BE49-F238E27FC236}">
                <a16:creationId xmlns:a16="http://schemas.microsoft.com/office/drawing/2014/main" id="{9A6CCA0D-11E6-6324-44DB-DFA38ADE2A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7956150"/>
              </p:ext>
            </p:extLst>
          </p:nvPr>
        </p:nvGraphicFramePr>
        <p:xfrm>
          <a:off x="4285953" y="1306125"/>
          <a:ext cx="7374787" cy="3395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86" name="Arrow: Pentagon 85">
            <a:extLst>
              <a:ext uri="{FF2B5EF4-FFF2-40B4-BE49-F238E27FC236}">
                <a16:creationId xmlns:a16="http://schemas.microsoft.com/office/drawing/2014/main" id="{0A0CF196-9D6C-F123-C738-E21929F5E8D7}"/>
              </a:ext>
            </a:extLst>
          </p:cNvPr>
          <p:cNvSpPr/>
          <p:nvPr/>
        </p:nvSpPr>
        <p:spPr>
          <a:xfrm>
            <a:off x="7238901" y="1148193"/>
            <a:ext cx="4418909" cy="276999"/>
          </a:xfrm>
          <a:prstGeom prst="homePlate">
            <a:avLst/>
          </a:prstGeom>
          <a:solidFill>
            <a:srgbClr val="FF614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7" name="Arrow: Chevron 86">
            <a:extLst>
              <a:ext uri="{FF2B5EF4-FFF2-40B4-BE49-F238E27FC236}">
                <a16:creationId xmlns:a16="http://schemas.microsoft.com/office/drawing/2014/main" id="{8BEC200E-4F3F-C0AE-0EDA-8F58FB1235FC}"/>
              </a:ext>
            </a:extLst>
          </p:cNvPr>
          <p:cNvSpPr/>
          <p:nvPr/>
        </p:nvSpPr>
        <p:spPr>
          <a:xfrm>
            <a:off x="8286105" y="1140082"/>
            <a:ext cx="406957" cy="292945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90" name="Arrow: Chevron 89">
            <a:extLst>
              <a:ext uri="{FF2B5EF4-FFF2-40B4-BE49-F238E27FC236}">
                <a16:creationId xmlns:a16="http://schemas.microsoft.com/office/drawing/2014/main" id="{1627F3CF-8405-9050-0781-0C522B1DB938}"/>
              </a:ext>
            </a:extLst>
          </p:cNvPr>
          <p:cNvSpPr/>
          <p:nvPr/>
        </p:nvSpPr>
        <p:spPr>
          <a:xfrm>
            <a:off x="9936935" y="1136923"/>
            <a:ext cx="406957" cy="292945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0B72525-41B4-20DE-3909-E709C84C64CB}"/>
              </a:ext>
            </a:extLst>
          </p:cNvPr>
          <p:cNvSpPr txBox="1"/>
          <p:nvPr/>
        </p:nvSpPr>
        <p:spPr>
          <a:xfrm>
            <a:off x="7457259" y="1141677"/>
            <a:ext cx="7755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>
                <a:solidFill>
                  <a:schemeClr val="bg1"/>
                </a:solidFill>
              </a:rPr>
              <a:t>PHASE 1</a:t>
            </a:r>
            <a:endParaRPr lang="en-IN" sz="1200" b="1" i="1">
              <a:solidFill>
                <a:schemeClr val="bg1"/>
              </a:solidFill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DD9963B4-1C62-DE6F-CB1A-F253FCE15ED5}"/>
              </a:ext>
            </a:extLst>
          </p:cNvPr>
          <p:cNvSpPr txBox="1"/>
          <p:nvPr/>
        </p:nvSpPr>
        <p:spPr>
          <a:xfrm>
            <a:off x="10578383" y="1137868"/>
            <a:ext cx="7755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>
                <a:solidFill>
                  <a:schemeClr val="bg1"/>
                </a:solidFill>
              </a:rPr>
              <a:t>PHASE 3</a:t>
            </a:r>
            <a:endParaRPr lang="en-IN" sz="1200" b="1" i="1">
              <a:solidFill>
                <a:schemeClr val="bg1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FECB839-8B6C-DC20-E619-02F74F38B95F}"/>
              </a:ext>
            </a:extLst>
          </p:cNvPr>
          <p:cNvSpPr txBox="1"/>
          <p:nvPr/>
        </p:nvSpPr>
        <p:spPr>
          <a:xfrm>
            <a:off x="8993413" y="1154709"/>
            <a:ext cx="7755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>
                <a:solidFill>
                  <a:schemeClr val="bg1"/>
                </a:solidFill>
              </a:rPr>
              <a:t>PHASE 2</a:t>
            </a:r>
            <a:endParaRPr lang="en-IN" sz="1200" b="1" i="1">
              <a:solidFill>
                <a:schemeClr val="bg1"/>
              </a:solidFill>
            </a:endParaRP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C63B1238-E107-3C5F-84AF-3F241AD036FC}"/>
              </a:ext>
            </a:extLst>
          </p:cNvPr>
          <p:cNvSpPr/>
          <p:nvPr/>
        </p:nvSpPr>
        <p:spPr>
          <a:xfrm>
            <a:off x="4223887" y="916559"/>
            <a:ext cx="2801652" cy="33829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400" b="1">
                <a:solidFill>
                  <a:schemeClr val="bg1"/>
                </a:solidFill>
              </a:rPr>
              <a:t>TIMELIN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805EFB9D-60DA-C4B0-DAA9-A9AD2ED9C051}"/>
              </a:ext>
            </a:extLst>
          </p:cNvPr>
          <p:cNvSpPr txBox="1"/>
          <p:nvPr/>
        </p:nvSpPr>
        <p:spPr>
          <a:xfrm>
            <a:off x="3987758" y="3971652"/>
            <a:ext cx="35664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/>
              <a:t>Secure Funding and Soft Opening of the Restaurant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25F5A2BE-A0A1-ACFE-AA83-8E3515A9C520}"/>
              </a:ext>
            </a:extLst>
          </p:cNvPr>
          <p:cNvSpPr txBox="1"/>
          <p:nvPr/>
        </p:nvSpPr>
        <p:spPr>
          <a:xfrm>
            <a:off x="3868997" y="3501487"/>
            <a:ext cx="35664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/>
              <a:t>Grand opening featuring</a:t>
            </a:r>
            <a:r>
              <a:rPr lang="en-IN" sz="1200" b="1"/>
              <a:t> Pierre Gagnaire as a Brand Ambassador 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C89A6EA-9786-3CCD-3FF5-934783558013}"/>
              </a:ext>
            </a:extLst>
          </p:cNvPr>
          <p:cNvSpPr txBox="1"/>
          <p:nvPr/>
        </p:nvSpPr>
        <p:spPr>
          <a:xfrm>
            <a:off x="4278602" y="3017152"/>
            <a:ext cx="35664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/>
              <a:t>Starting the </a:t>
            </a:r>
            <a:r>
              <a:rPr lang="en-IN" sz="1200" b="1" dirty="0"/>
              <a:t>Scholarship &amp; Intern</a:t>
            </a:r>
            <a:r>
              <a:rPr lang="en-IN" sz="1200" dirty="0"/>
              <a:t> Programmes 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29F35BC-4AA1-C70F-6668-C243D44ECFB6}"/>
              </a:ext>
            </a:extLst>
          </p:cNvPr>
          <p:cNvSpPr txBox="1"/>
          <p:nvPr/>
        </p:nvSpPr>
        <p:spPr>
          <a:xfrm>
            <a:off x="4411420" y="2599906"/>
            <a:ext cx="2960298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rtlCol="0">
            <a:spAutoFit/>
          </a:bodyPr>
          <a:lstStyle/>
          <a:p>
            <a:r>
              <a:rPr lang="en-IN" sz="1200"/>
              <a:t>Reaching towards Break even &amp; Profitability 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61E0FA6-0E76-0956-A363-7D017C250E8F}"/>
              </a:ext>
            </a:extLst>
          </p:cNvPr>
          <p:cNvSpPr txBox="1"/>
          <p:nvPr/>
        </p:nvSpPr>
        <p:spPr>
          <a:xfrm>
            <a:off x="5028339" y="2155745"/>
            <a:ext cx="35664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/>
              <a:t> </a:t>
            </a:r>
            <a:r>
              <a:rPr lang="en-US" sz="1200" dirty="0"/>
              <a:t>Achieving </a:t>
            </a:r>
            <a:r>
              <a:rPr lang="en-US" sz="1200" b="1" dirty="0"/>
              <a:t>3 Michelin Star Rating</a:t>
            </a:r>
            <a:endParaRPr lang="en-US" sz="1200" dirty="0"/>
          </a:p>
          <a:p>
            <a:endParaRPr lang="en-IN" sz="1200" b="1" dirty="0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5D94D64-BE00-BD7B-FB72-713BDA46120D}"/>
              </a:ext>
            </a:extLst>
          </p:cNvPr>
          <p:cNvSpPr txBox="1"/>
          <p:nvPr/>
        </p:nvSpPr>
        <p:spPr>
          <a:xfrm>
            <a:off x="5143746" y="1697107"/>
            <a:ext cx="35664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/>
              <a:t>Expansion within the Country  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CBA5A30-7C32-0948-B8D8-8B43342E85B8}"/>
              </a:ext>
            </a:extLst>
          </p:cNvPr>
          <p:cNvSpPr/>
          <p:nvPr/>
        </p:nvSpPr>
        <p:spPr>
          <a:xfrm>
            <a:off x="3996269" y="3501487"/>
            <a:ext cx="3318930" cy="387064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55FB57A0-FDA1-2B37-8AFA-1EA4BD23A968}"/>
              </a:ext>
            </a:extLst>
          </p:cNvPr>
          <p:cNvSpPr txBox="1"/>
          <p:nvPr/>
        </p:nvSpPr>
        <p:spPr>
          <a:xfrm>
            <a:off x="9696786" y="5658229"/>
            <a:ext cx="245151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          Implementing Robust Internal Policies, regular Audits, fostering a Compliance-driven Culture.</a:t>
            </a:r>
            <a:endParaRPr lang="en-IN" sz="1000"/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23A2A95-B964-D32A-6F8E-C22C7E34F9E9}"/>
              </a:ext>
            </a:extLst>
          </p:cNvPr>
          <p:cNvSpPr txBox="1"/>
          <p:nvPr/>
        </p:nvSpPr>
        <p:spPr>
          <a:xfrm>
            <a:off x="3091592" y="5404509"/>
            <a:ext cx="2236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b="1"/>
              <a:t>Cost of Starting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97F575D9-E503-A9BA-5D78-901DBAC776EA}"/>
              </a:ext>
            </a:extLst>
          </p:cNvPr>
          <p:cNvSpPr txBox="1"/>
          <p:nvPr/>
        </p:nvSpPr>
        <p:spPr>
          <a:xfrm>
            <a:off x="2603736" y="5814831"/>
            <a:ext cx="24515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rgbClr val="C00000"/>
                </a:solidFill>
              </a:rPr>
              <a:t>                  $550000- 600000</a:t>
            </a:r>
            <a:endParaRPr lang="en-IN" sz="1000">
              <a:solidFill>
                <a:srgbClr val="C00000"/>
              </a:solidFill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DDFC2078-5063-7C8D-D32D-CCF5E6148F6C}"/>
              </a:ext>
            </a:extLst>
          </p:cNvPr>
          <p:cNvSpPr txBox="1"/>
          <p:nvPr/>
        </p:nvSpPr>
        <p:spPr>
          <a:xfrm>
            <a:off x="7571676" y="5402472"/>
            <a:ext cx="2236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b="1"/>
              <a:t>Profitability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6CE9EA2-A138-33CC-FB04-93F27C575DC8}"/>
              </a:ext>
            </a:extLst>
          </p:cNvPr>
          <p:cNvSpPr txBox="1"/>
          <p:nvPr/>
        </p:nvSpPr>
        <p:spPr>
          <a:xfrm>
            <a:off x="7387186" y="5741074"/>
            <a:ext cx="2309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C00000"/>
                </a:solidFill>
              </a:rPr>
              <a:t>We will gain Profitability</a:t>
            </a:r>
          </a:p>
          <a:p>
            <a:pPr algn="ctr"/>
            <a:r>
              <a:rPr lang="en-US" sz="1000" dirty="0">
                <a:solidFill>
                  <a:srgbClr val="C00000"/>
                </a:solidFill>
              </a:rPr>
              <a:t> in 4-5 years after opening.</a:t>
            </a:r>
            <a:endParaRPr lang="en-IN" sz="1000" dirty="0">
              <a:solidFill>
                <a:srgbClr val="C00000"/>
              </a:solidFill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9E8AA261-4D79-3573-BEA0-E87AAD159176}"/>
              </a:ext>
            </a:extLst>
          </p:cNvPr>
          <p:cNvSpPr txBox="1"/>
          <p:nvPr/>
        </p:nvSpPr>
        <p:spPr>
          <a:xfrm>
            <a:off x="8689690" y="6466466"/>
            <a:ext cx="1296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C00000"/>
                </a:solidFill>
              </a:rPr>
              <a:t>Size &amp; Timeline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7FD36E95-592C-CF1A-04D9-E8C1CD9E7913}"/>
              </a:ext>
            </a:extLst>
          </p:cNvPr>
          <p:cNvSpPr txBox="1"/>
          <p:nvPr/>
        </p:nvSpPr>
        <p:spPr>
          <a:xfrm>
            <a:off x="7238900" y="4340787"/>
            <a:ext cx="47115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12         24        36         48        60       72       84        96        108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C75905B9-BBE5-9401-2E6F-11B54DBC0109}"/>
              </a:ext>
            </a:extLst>
          </p:cNvPr>
          <p:cNvSpPr txBox="1"/>
          <p:nvPr/>
        </p:nvSpPr>
        <p:spPr>
          <a:xfrm>
            <a:off x="8896711" y="4522683"/>
            <a:ext cx="2105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/>
              <a:t>No of Months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B3BD4E88-BB0F-35C0-F02C-DF28EC65526C}"/>
              </a:ext>
            </a:extLst>
          </p:cNvPr>
          <p:cNvCxnSpPr>
            <a:cxnSpLocks/>
          </p:cNvCxnSpPr>
          <p:nvPr/>
        </p:nvCxnSpPr>
        <p:spPr>
          <a:xfrm flipH="1">
            <a:off x="7387186" y="4668743"/>
            <a:ext cx="150952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520BACDA-901F-A158-A747-9E64C7477283}"/>
              </a:ext>
            </a:extLst>
          </p:cNvPr>
          <p:cNvCxnSpPr>
            <a:cxnSpLocks/>
          </p:cNvCxnSpPr>
          <p:nvPr/>
        </p:nvCxnSpPr>
        <p:spPr>
          <a:xfrm>
            <a:off x="9928788" y="4673651"/>
            <a:ext cx="154162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bject 2">
            <a:extLst>
              <a:ext uri="{FF2B5EF4-FFF2-40B4-BE49-F238E27FC236}">
                <a16:creationId xmlns:a16="http://schemas.microsoft.com/office/drawing/2014/main" id="{CA825A3B-57C3-BFD8-D6E3-8694CBEDCD39}"/>
              </a:ext>
            </a:extLst>
          </p:cNvPr>
          <p:cNvSpPr/>
          <p:nvPr/>
        </p:nvSpPr>
        <p:spPr>
          <a:xfrm>
            <a:off x="8758267" y="6391968"/>
            <a:ext cx="1151890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5BC3007-8023-ED95-0086-3FF3F7593B1A}"/>
              </a:ext>
            </a:extLst>
          </p:cNvPr>
          <p:cNvCxnSpPr>
            <a:cxnSpLocks/>
          </p:cNvCxnSpPr>
          <p:nvPr/>
        </p:nvCxnSpPr>
        <p:spPr>
          <a:xfrm flipH="1" flipV="1">
            <a:off x="3963291" y="4759796"/>
            <a:ext cx="8218549" cy="327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80013E7-10DC-B584-7CF8-C1E98847EDFE}"/>
              </a:ext>
            </a:extLst>
          </p:cNvPr>
          <p:cNvCxnSpPr/>
          <p:nvPr/>
        </p:nvCxnSpPr>
        <p:spPr>
          <a:xfrm>
            <a:off x="16436" y="30410"/>
            <a:ext cx="0" cy="688115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77B6834-844E-C60D-4FBE-B4BB663A2F33}"/>
              </a:ext>
            </a:extLst>
          </p:cNvPr>
          <p:cNvCxnSpPr>
            <a:cxnSpLocks/>
          </p:cNvCxnSpPr>
          <p:nvPr/>
        </p:nvCxnSpPr>
        <p:spPr>
          <a:xfrm>
            <a:off x="12171651" y="0"/>
            <a:ext cx="0" cy="6932826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F16F4DF-2C4B-114B-E8D8-116D366AFE57}"/>
              </a:ext>
            </a:extLst>
          </p:cNvPr>
          <p:cNvCxnSpPr>
            <a:cxnSpLocks/>
          </p:cNvCxnSpPr>
          <p:nvPr/>
        </p:nvCxnSpPr>
        <p:spPr>
          <a:xfrm flipH="1">
            <a:off x="11109" y="6841021"/>
            <a:ext cx="1216054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78309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30A77B-01A5-2C38-8BB0-6EB95C58B0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209463F-7BF1-A230-0942-22B21918AFA7}"/>
              </a:ext>
            </a:extLst>
          </p:cNvPr>
          <p:cNvSpPr/>
          <p:nvPr/>
        </p:nvSpPr>
        <p:spPr>
          <a:xfrm>
            <a:off x="0" y="187484"/>
            <a:ext cx="6617970" cy="6126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object 65">
            <a:extLst>
              <a:ext uri="{FF2B5EF4-FFF2-40B4-BE49-F238E27FC236}">
                <a16:creationId xmlns:a16="http://schemas.microsoft.com/office/drawing/2014/main" id="{94241523-134A-CC4E-1AFE-EBD80A87C595}"/>
              </a:ext>
            </a:extLst>
          </p:cNvPr>
          <p:cNvSpPr txBox="1"/>
          <p:nvPr/>
        </p:nvSpPr>
        <p:spPr>
          <a:xfrm>
            <a:off x="88899" y="88867"/>
            <a:ext cx="7630159" cy="713740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40"/>
              </a:spcBef>
            </a:pPr>
            <a:r>
              <a:rPr lang="en-IN" sz="2300" b="1" err="1">
                <a:latin typeface="Calibri"/>
                <a:cs typeface="Calibri"/>
              </a:rPr>
              <a:t>eXPLO</a:t>
            </a:r>
            <a:endParaRPr sz="23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r>
              <a:rPr lang="en-US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Analyzing the target market and positioning of brand</a:t>
            </a:r>
            <a:endParaRPr sz="1600" i="1">
              <a:solidFill>
                <a:schemeClr val="bg1">
                  <a:lumMod val="6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26033B5-CF5D-BC00-077E-4D6A65249D4A}"/>
              </a:ext>
            </a:extLst>
          </p:cNvPr>
          <p:cNvSpPr/>
          <p:nvPr/>
        </p:nvSpPr>
        <p:spPr>
          <a:xfrm>
            <a:off x="11898630" y="6670516"/>
            <a:ext cx="502920" cy="2659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object 81">
            <a:extLst>
              <a:ext uri="{FF2B5EF4-FFF2-40B4-BE49-F238E27FC236}">
                <a16:creationId xmlns:a16="http://schemas.microsoft.com/office/drawing/2014/main" id="{FAE27ED9-0A06-1705-F397-58D77509C6BE}"/>
              </a:ext>
            </a:extLst>
          </p:cNvPr>
          <p:cNvSpPr txBox="1">
            <a:spLocks/>
          </p:cNvSpPr>
          <p:nvPr/>
        </p:nvSpPr>
        <p:spPr>
          <a:xfrm>
            <a:off x="12072400" y="656760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IN" spc="-50"/>
              <a:t>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3B9E06-05FD-FCA8-650D-000823CD8994}"/>
              </a:ext>
            </a:extLst>
          </p:cNvPr>
          <p:cNvSpPr/>
          <p:nvPr/>
        </p:nvSpPr>
        <p:spPr>
          <a:xfrm>
            <a:off x="280987" y="6446520"/>
            <a:ext cx="1422083" cy="2239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48A054B-2524-6873-7733-5BE7F6A952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877" y="6545642"/>
            <a:ext cx="1521546" cy="76077"/>
          </a:xfrm>
          <a:prstGeom prst="rect">
            <a:avLst/>
          </a:prstGeom>
        </p:spPr>
      </p:pic>
      <p:sp>
        <p:nvSpPr>
          <p:cNvPr id="15" name="object 2">
            <a:extLst>
              <a:ext uri="{FF2B5EF4-FFF2-40B4-BE49-F238E27FC236}">
                <a16:creationId xmlns:a16="http://schemas.microsoft.com/office/drawing/2014/main" id="{48436382-0535-56CA-FDE8-5A5FD03D607E}"/>
              </a:ext>
            </a:extLst>
          </p:cNvPr>
          <p:cNvSpPr/>
          <p:nvPr/>
        </p:nvSpPr>
        <p:spPr>
          <a:xfrm>
            <a:off x="4323243" y="6557322"/>
            <a:ext cx="1151890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1CDA4D-6CFF-2471-C19D-0AB25AEB647E}"/>
              </a:ext>
            </a:extLst>
          </p:cNvPr>
          <p:cNvSpPr txBox="1"/>
          <p:nvPr/>
        </p:nvSpPr>
        <p:spPr>
          <a:xfrm>
            <a:off x="110057" y="6600624"/>
            <a:ext cx="17608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i="1">
                <a:solidFill>
                  <a:schemeClr val="bg2">
                    <a:lumMod val="90000"/>
                  </a:schemeClr>
                </a:solidFill>
              </a:rPr>
              <a:t>Executive Summary</a:t>
            </a:r>
            <a:endParaRPr lang="en-US" sz="1200" b="1" i="1">
              <a:solidFill>
                <a:schemeClr val="bg2">
                  <a:lumMod val="9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429A9F-DBC3-9FFD-1A00-236682BA0B2E}"/>
              </a:ext>
            </a:extLst>
          </p:cNvPr>
          <p:cNvSpPr txBox="1"/>
          <p:nvPr/>
        </p:nvSpPr>
        <p:spPr>
          <a:xfrm>
            <a:off x="2113637" y="6611282"/>
            <a:ext cx="17608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i="1">
                <a:solidFill>
                  <a:schemeClr val="bg2">
                    <a:lumMod val="90000"/>
                  </a:schemeClr>
                </a:solidFill>
              </a:rPr>
              <a:t>Market Research</a:t>
            </a:r>
            <a:endParaRPr lang="en-US">
              <a:solidFill>
                <a:schemeClr val="bg2">
                  <a:lumMod val="90000"/>
                </a:schemeClr>
              </a:solidFill>
              <a:cs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F9192C9-0302-CDAA-9A72-7793C80996F6}"/>
              </a:ext>
            </a:extLst>
          </p:cNvPr>
          <p:cNvSpPr txBox="1"/>
          <p:nvPr/>
        </p:nvSpPr>
        <p:spPr>
          <a:xfrm>
            <a:off x="4021302" y="6605953"/>
            <a:ext cx="17608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i="1"/>
              <a:t>Target Market</a:t>
            </a:r>
            <a:endParaRPr lang="en-US">
              <a:cs typeface="Calibr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909F8D-A7E1-FDDF-3E4B-34A737230B88}"/>
              </a:ext>
            </a:extLst>
          </p:cNvPr>
          <p:cNvSpPr txBox="1"/>
          <p:nvPr/>
        </p:nvSpPr>
        <p:spPr>
          <a:xfrm>
            <a:off x="6083497" y="6605953"/>
            <a:ext cx="17608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i="1">
                <a:solidFill>
                  <a:schemeClr val="bg2">
                    <a:lumMod val="90000"/>
                  </a:schemeClr>
                </a:solidFill>
              </a:rPr>
              <a:t>Launching Strategies</a:t>
            </a:r>
            <a:endParaRPr lang="en-US">
              <a:solidFill>
                <a:schemeClr val="bg2">
                  <a:lumMod val="90000"/>
                </a:schemeClr>
              </a:solidFill>
              <a:cs typeface="Calibri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13595F9-9948-F857-6327-494DB77B6D73}"/>
              </a:ext>
            </a:extLst>
          </p:cNvPr>
          <p:cNvSpPr txBox="1"/>
          <p:nvPr/>
        </p:nvSpPr>
        <p:spPr>
          <a:xfrm>
            <a:off x="8071092" y="6605953"/>
            <a:ext cx="17608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i="1">
                <a:solidFill>
                  <a:schemeClr val="bg2">
                    <a:lumMod val="90000"/>
                  </a:schemeClr>
                </a:solidFill>
              </a:rPr>
              <a:t>Localization</a:t>
            </a:r>
            <a:endParaRPr lang="en-US">
              <a:solidFill>
                <a:schemeClr val="bg2">
                  <a:lumMod val="90000"/>
                </a:schemeClr>
              </a:solidFill>
              <a:cs typeface="Calibri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6BD42A8-9B1C-01B3-C82C-D148ACC509DD}"/>
              </a:ext>
            </a:extLst>
          </p:cNvPr>
          <p:cNvSpPr txBox="1"/>
          <p:nvPr/>
        </p:nvSpPr>
        <p:spPr>
          <a:xfrm>
            <a:off x="9978756" y="6611282"/>
            <a:ext cx="17608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i="1">
                <a:solidFill>
                  <a:schemeClr val="bg2">
                    <a:lumMod val="90000"/>
                  </a:schemeClr>
                </a:solidFill>
              </a:rPr>
              <a:t>Marketing Strategy</a:t>
            </a:r>
            <a:endParaRPr lang="en-US">
              <a:solidFill>
                <a:schemeClr val="bg2">
                  <a:lumMod val="90000"/>
                </a:schemeClr>
              </a:solidFill>
              <a:cs typeface="Calibr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78219B-DB46-83CC-5989-8D64D1F5CA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B5831AC-211A-4ABD-903F-D88245EDDE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0559" y="0"/>
            <a:ext cx="601441" cy="566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7327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B9801088-7B50-4582-B142-48726FFB940D}"/>
              </a:ext>
            </a:extLst>
          </p:cNvPr>
          <p:cNvSpPr/>
          <p:nvPr/>
        </p:nvSpPr>
        <p:spPr>
          <a:xfrm>
            <a:off x="2032000" y="1427551"/>
            <a:ext cx="8378739" cy="4591325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45" name="object 65">
            <a:extLst>
              <a:ext uri="{FF2B5EF4-FFF2-40B4-BE49-F238E27FC236}">
                <a16:creationId xmlns:a16="http://schemas.microsoft.com/office/drawing/2014/main" id="{4FD1B8EF-A16B-4405-A241-BEEF80D3F533}"/>
              </a:ext>
            </a:extLst>
          </p:cNvPr>
          <p:cNvSpPr txBox="1"/>
          <p:nvPr/>
        </p:nvSpPr>
        <p:spPr>
          <a:xfrm>
            <a:off x="88899" y="88867"/>
            <a:ext cx="10254993" cy="707886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40"/>
              </a:spcBef>
            </a:pPr>
            <a:r>
              <a:rPr lang="en-US" sz="2300" b="1">
                <a:latin typeface="Calibri"/>
                <a:cs typeface="Calibri"/>
              </a:rPr>
              <a:t>APPENDIX</a:t>
            </a: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r>
              <a:rPr lang="en-US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Justifying the Pricing of the restaurant</a:t>
            </a:r>
            <a:endParaRPr lang="en-IN" sz="1600" i="1">
              <a:solidFill>
                <a:schemeClr val="bg1">
                  <a:lumMod val="6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61" name="object 81">
            <a:extLst>
              <a:ext uri="{FF2B5EF4-FFF2-40B4-BE49-F238E27FC236}">
                <a16:creationId xmlns:a16="http://schemas.microsoft.com/office/drawing/2014/main" id="{698E5167-1AB3-43B8-9DA1-7C18B34EE5F9}"/>
              </a:ext>
            </a:extLst>
          </p:cNvPr>
          <p:cNvSpPr txBox="1">
            <a:spLocks/>
          </p:cNvSpPr>
          <p:nvPr/>
        </p:nvSpPr>
        <p:spPr>
          <a:xfrm>
            <a:off x="11732386" y="650354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US" spc="-50"/>
              <a:t>1</a:t>
            </a:r>
            <a:endParaRPr lang="en-IN" spc="-50"/>
          </a:p>
        </p:txBody>
      </p:sp>
      <p:sp>
        <p:nvSpPr>
          <p:cNvPr id="82" name="object 2">
            <a:extLst>
              <a:ext uri="{FF2B5EF4-FFF2-40B4-BE49-F238E27FC236}">
                <a16:creationId xmlns:a16="http://schemas.microsoft.com/office/drawing/2014/main" id="{C7F75225-0A42-4783-B192-BE092CAC824C}"/>
              </a:ext>
            </a:extLst>
          </p:cNvPr>
          <p:cNvSpPr/>
          <p:nvPr/>
        </p:nvSpPr>
        <p:spPr>
          <a:xfrm>
            <a:off x="10021254" y="6385872"/>
            <a:ext cx="1393787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CEAAB54-20D9-AAD2-4E91-75875D231121}"/>
              </a:ext>
            </a:extLst>
          </p:cNvPr>
          <p:cNvSpPr/>
          <p:nvPr/>
        </p:nvSpPr>
        <p:spPr>
          <a:xfrm>
            <a:off x="10700238" y="223123"/>
            <a:ext cx="1380127" cy="5398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4" name="Chart 3">
                <a:extLst>
                  <a:ext uri="{FF2B5EF4-FFF2-40B4-BE49-F238E27FC236}">
                    <a16:creationId xmlns:a16="http://schemas.microsoft.com/office/drawing/2014/main" id="{807FAE05-62F9-94E6-F181-083B6D3D229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607845853"/>
                  </p:ext>
                </p:extLst>
              </p:nvPr>
            </p:nvGraphicFramePr>
            <p:xfrm>
              <a:off x="2032000" y="719666"/>
              <a:ext cx="8128000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4" name="Chart 3">
                <a:extLst>
                  <a:ext uri="{FF2B5EF4-FFF2-40B4-BE49-F238E27FC236}">
                    <a16:creationId xmlns:a16="http://schemas.microsoft.com/office/drawing/2014/main" id="{807FAE05-62F9-94E6-F181-083B6D3D229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032000" y="719666"/>
                <a:ext cx="8128000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2" name="Rectangle 1">
            <a:extLst>
              <a:ext uri="{FF2B5EF4-FFF2-40B4-BE49-F238E27FC236}">
                <a16:creationId xmlns:a16="http://schemas.microsoft.com/office/drawing/2014/main" id="{EE786180-E002-91E5-CBC0-65FB251B94C9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C0369CF-1100-268C-D50D-2820879AA5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9749" y="211373"/>
            <a:ext cx="601441" cy="56606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C048FE7-2C6F-8806-A02F-E1AE5C3829C4}"/>
              </a:ext>
            </a:extLst>
          </p:cNvPr>
          <p:cNvSpPr txBox="1"/>
          <p:nvPr/>
        </p:nvSpPr>
        <p:spPr>
          <a:xfrm>
            <a:off x="4935597" y="1038367"/>
            <a:ext cx="47108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rgbClr val="C00000"/>
                </a:solidFill>
              </a:rPr>
              <a:t>Justifying Luxury Pricing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D23DE0C-0948-25E8-D03B-A11CA95F49D3}"/>
              </a:ext>
            </a:extLst>
          </p:cNvPr>
          <p:cNvSpPr txBox="1"/>
          <p:nvPr/>
        </p:nvSpPr>
        <p:spPr>
          <a:xfrm>
            <a:off x="10293355" y="6452246"/>
            <a:ext cx="1239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C00000"/>
                </a:solidFill>
              </a:rPr>
              <a:t>Appendix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F74AB2-4453-874A-B8DF-33EF7312710D}"/>
              </a:ext>
            </a:extLst>
          </p:cNvPr>
          <p:cNvSpPr txBox="1"/>
          <p:nvPr/>
        </p:nvSpPr>
        <p:spPr>
          <a:xfrm>
            <a:off x="397092" y="6441627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Researc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E50B622-E08F-C57C-0697-EF4FC328497F}"/>
              </a:ext>
            </a:extLst>
          </p:cNvPr>
          <p:cNvSpPr txBox="1"/>
          <p:nvPr/>
        </p:nvSpPr>
        <p:spPr>
          <a:xfrm>
            <a:off x="2067459" y="6441730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Entry Strateg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AA9FA41-3B87-404C-5977-0AA601D0EDA8}"/>
              </a:ext>
            </a:extLst>
          </p:cNvPr>
          <p:cNvSpPr txBox="1"/>
          <p:nvPr/>
        </p:nvSpPr>
        <p:spPr>
          <a:xfrm>
            <a:off x="4141781" y="6452763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Customer Value Proposi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0851BB0-5611-B652-6221-913802938D49}"/>
              </a:ext>
            </a:extLst>
          </p:cNvPr>
          <p:cNvSpPr txBox="1"/>
          <p:nvPr/>
        </p:nvSpPr>
        <p:spPr>
          <a:xfrm>
            <a:off x="6623801" y="6460634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ing &amp; Promo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8B6452C-7D6A-20C3-FC99-1819B99802CC}"/>
              </a:ext>
            </a:extLst>
          </p:cNvPr>
          <p:cNvSpPr txBox="1"/>
          <p:nvPr/>
        </p:nvSpPr>
        <p:spPr>
          <a:xfrm>
            <a:off x="8689690" y="6466466"/>
            <a:ext cx="1296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Size &amp; Timelin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57B1C9B-C17E-9498-CAA6-2C4AEE007C64}"/>
              </a:ext>
            </a:extLst>
          </p:cNvPr>
          <p:cNvSpPr txBox="1"/>
          <p:nvPr/>
        </p:nvSpPr>
        <p:spPr>
          <a:xfrm>
            <a:off x="2365695" y="1560352"/>
            <a:ext cx="7717872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Premium Ingredients</a:t>
            </a:r>
            <a:r>
              <a:rPr lang="en-US" sz="1600"/>
              <a:t>: High-quality, organic, and rare seasonal ingredients sourced locally or globally</a:t>
            </a:r>
          </a:p>
          <a:p>
            <a:endParaRPr lang="en-US" sz="1600"/>
          </a:p>
          <a:p>
            <a:r>
              <a:rPr lang="en-US" sz="1600" b="1"/>
              <a:t>Unique Dining Experience</a:t>
            </a:r>
            <a:r>
              <a:rPr lang="en-US" sz="1600"/>
              <a:t>: Immersive storytelling with a “rat chef” theme, making dining an event</a:t>
            </a:r>
          </a:p>
          <a:p>
            <a:endParaRPr lang="en-US" sz="1600"/>
          </a:p>
          <a:p>
            <a:r>
              <a:rPr lang="en-US" sz="1600" b="1"/>
              <a:t>Artisanal Dishes</a:t>
            </a:r>
            <a:r>
              <a:rPr lang="en-US" sz="1600"/>
              <a:t>: Expert chefs crafting innovative dishes with French tradition and creativity</a:t>
            </a:r>
          </a:p>
          <a:p>
            <a:endParaRPr lang="en-US" sz="1600"/>
          </a:p>
          <a:p>
            <a:r>
              <a:rPr lang="en-US" sz="1600" b="1"/>
              <a:t>Prime Location</a:t>
            </a:r>
            <a:r>
              <a:rPr lang="en-US" sz="1600"/>
              <a:t>: Situated in a prestigious Parisian area, </a:t>
            </a:r>
            <a:r>
              <a:rPr lang="en-US" sz="1600" b="1"/>
              <a:t>Montmartre</a:t>
            </a:r>
            <a:r>
              <a:rPr lang="en-US" sz="1600"/>
              <a:t> adding exclusivity and convenience. </a:t>
            </a:r>
          </a:p>
          <a:p>
            <a:endParaRPr lang="en-US" sz="1600"/>
          </a:p>
          <a:p>
            <a:r>
              <a:rPr lang="en-US" sz="1600" b="1"/>
              <a:t>Limited Seating</a:t>
            </a:r>
            <a:r>
              <a:rPr lang="en-US" sz="1600"/>
              <a:t>: Intimate, personalized service for a high-end clientele </a:t>
            </a:r>
          </a:p>
          <a:p>
            <a:endParaRPr lang="en-US" sz="1600" b="1"/>
          </a:p>
          <a:p>
            <a:r>
              <a:rPr lang="en-US" sz="1600" b="1"/>
              <a:t>Sustainability</a:t>
            </a:r>
            <a:r>
              <a:rPr lang="en-US" sz="1600"/>
              <a:t>: Eco-friendly sourcing and ethical practices with higher operational costs</a:t>
            </a:r>
          </a:p>
          <a:p>
            <a:endParaRPr lang="en-US" sz="1600"/>
          </a:p>
          <a:p>
            <a:r>
              <a:rPr lang="en-US" sz="1600" b="1"/>
              <a:t>Luxury Branding</a:t>
            </a:r>
            <a:r>
              <a:rPr lang="en-US" sz="1600"/>
              <a:t>: Positioned as a premium experience akin to fine art or fashion.</a:t>
            </a:r>
            <a:endParaRPr lang="en-IN" sz="160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36D1C95-0660-A976-67BD-B695540A78F2}"/>
              </a:ext>
            </a:extLst>
          </p:cNvPr>
          <p:cNvCxnSpPr/>
          <p:nvPr/>
        </p:nvCxnSpPr>
        <p:spPr>
          <a:xfrm>
            <a:off x="16436" y="30410"/>
            <a:ext cx="0" cy="688115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6A160BD-D65B-FF40-A3E1-57D2F6392094}"/>
              </a:ext>
            </a:extLst>
          </p:cNvPr>
          <p:cNvCxnSpPr>
            <a:cxnSpLocks/>
          </p:cNvCxnSpPr>
          <p:nvPr/>
        </p:nvCxnSpPr>
        <p:spPr>
          <a:xfrm>
            <a:off x="12171651" y="0"/>
            <a:ext cx="0" cy="6932826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2D6492D-3B56-CAED-1FFE-FD06A6EFB28E}"/>
              </a:ext>
            </a:extLst>
          </p:cNvPr>
          <p:cNvCxnSpPr>
            <a:cxnSpLocks/>
          </p:cNvCxnSpPr>
          <p:nvPr/>
        </p:nvCxnSpPr>
        <p:spPr>
          <a:xfrm flipH="1">
            <a:off x="11109" y="6841021"/>
            <a:ext cx="1216054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0899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1B4F81-7905-DB2C-16A4-767D65B552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object 65">
            <a:extLst>
              <a:ext uri="{FF2B5EF4-FFF2-40B4-BE49-F238E27FC236}">
                <a16:creationId xmlns:a16="http://schemas.microsoft.com/office/drawing/2014/main" id="{583EF187-AE27-EA4E-B18A-E7FB68BEC98C}"/>
              </a:ext>
            </a:extLst>
          </p:cNvPr>
          <p:cNvSpPr txBox="1"/>
          <p:nvPr/>
        </p:nvSpPr>
        <p:spPr>
          <a:xfrm>
            <a:off x="88899" y="88867"/>
            <a:ext cx="10254993" cy="707886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40"/>
              </a:spcBef>
            </a:pPr>
            <a:r>
              <a:rPr lang="en-US" sz="2300" b="1">
                <a:latin typeface="Calibri"/>
                <a:cs typeface="Calibri"/>
              </a:rPr>
              <a:t>APPENDIX</a:t>
            </a: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r>
              <a:rPr lang="en-US" sz="1600" i="1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</a:rPr>
              <a:t>Calculating the TAM, SAM &amp; SOM</a:t>
            </a:r>
            <a:endParaRPr lang="en-IN" sz="1600" i="1">
              <a:solidFill>
                <a:schemeClr val="bg1">
                  <a:lumMod val="6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61" name="object 81">
            <a:extLst>
              <a:ext uri="{FF2B5EF4-FFF2-40B4-BE49-F238E27FC236}">
                <a16:creationId xmlns:a16="http://schemas.microsoft.com/office/drawing/2014/main" id="{EE14DACE-DED1-1B3D-BB09-3A279B47E857}"/>
              </a:ext>
            </a:extLst>
          </p:cNvPr>
          <p:cNvSpPr txBox="1">
            <a:spLocks/>
          </p:cNvSpPr>
          <p:nvPr/>
        </p:nvSpPr>
        <p:spPr>
          <a:xfrm>
            <a:off x="11732386" y="6503543"/>
            <a:ext cx="347979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585">
              <a:lnSpc>
                <a:spcPts val="2005"/>
              </a:lnSpc>
            </a:pPr>
            <a:r>
              <a:rPr lang="en-US" spc="-50"/>
              <a:t>2</a:t>
            </a:r>
            <a:endParaRPr lang="en-IN" spc="-50"/>
          </a:p>
        </p:txBody>
      </p:sp>
      <p:sp>
        <p:nvSpPr>
          <p:cNvPr id="82" name="object 2">
            <a:extLst>
              <a:ext uri="{FF2B5EF4-FFF2-40B4-BE49-F238E27FC236}">
                <a16:creationId xmlns:a16="http://schemas.microsoft.com/office/drawing/2014/main" id="{6DFF3644-8876-2DF8-2772-72EE8957D440}"/>
              </a:ext>
            </a:extLst>
          </p:cNvPr>
          <p:cNvSpPr/>
          <p:nvPr/>
        </p:nvSpPr>
        <p:spPr>
          <a:xfrm>
            <a:off x="10021254" y="6385872"/>
            <a:ext cx="1393787" cy="635"/>
          </a:xfrm>
          <a:custGeom>
            <a:avLst/>
            <a:gdLst/>
            <a:ahLst/>
            <a:cxnLst/>
            <a:rect l="l" t="t" r="r" b="b"/>
            <a:pathLst>
              <a:path w="1151889" h="635">
                <a:moveTo>
                  <a:pt x="0" y="0"/>
                </a:moveTo>
                <a:lnTo>
                  <a:pt x="1151597" y="12"/>
                </a:lnTo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693C91-6AB1-0768-7177-66246CD22571}"/>
              </a:ext>
            </a:extLst>
          </p:cNvPr>
          <p:cNvSpPr/>
          <p:nvPr/>
        </p:nvSpPr>
        <p:spPr>
          <a:xfrm>
            <a:off x="10700238" y="223123"/>
            <a:ext cx="1380127" cy="5398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4" name="Chart 3">
                <a:extLst>
                  <a:ext uri="{FF2B5EF4-FFF2-40B4-BE49-F238E27FC236}">
                    <a16:creationId xmlns:a16="http://schemas.microsoft.com/office/drawing/2014/main" id="{9B63F8D2-6440-DCA9-547F-4C8D86352047}"/>
                  </a:ext>
                </a:extLst>
              </p:cNvPr>
              <p:cNvGraphicFramePr/>
              <p:nvPr/>
            </p:nvGraphicFramePr>
            <p:xfrm>
              <a:off x="2032000" y="719666"/>
              <a:ext cx="8128000" cy="54186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4" name="Chart 3">
                <a:extLst>
                  <a:ext uri="{FF2B5EF4-FFF2-40B4-BE49-F238E27FC236}">
                    <a16:creationId xmlns:a16="http://schemas.microsoft.com/office/drawing/2014/main" id="{9B63F8D2-6440-DCA9-547F-4C8D8635204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032000" y="719666"/>
                <a:ext cx="8128000" cy="5418667"/>
              </a:xfrm>
              <a:prstGeom prst="rect">
                <a:avLst/>
              </a:prstGeom>
            </p:spPr>
          </p:pic>
        </mc:Fallback>
      </mc:AlternateContent>
      <p:sp>
        <p:nvSpPr>
          <p:cNvPr id="2" name="Rectangle 1">
            <a:extLst>
              <a:ext uri="{FF2B5EF4-FFF2-40B4-BE49-F238E27FC236}">
                <a16:creationId xmlns:a16="http://schemas.microsoft.com/office/drawing/2014/main" id="{45EFD3FB-01F5-E7EB-D6FB-2D6A88573532}"/>
              </a:ext>
            </a:extLst>
          </p:cNvPr>
          <p:cNvSpPr/>
          <p:nvPr/>
        </p:nvSpPr>
        <p:spPr>
          <a:xfrm>
            <a:off x="123124" y="6503543"/>
            <a:ext cx="11563486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99C7799-E9D3-FFC7-C0B4-F7779CEBDA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388" y="1268643"/>
            <a:ext cx="10800055" cy="462347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E892341-8D1F-ED60-1E2D-5909EEF2FA7E}"/>
              </a:ext>
            </a:extLst>
          </p:cNvPr>
          <p:cNvSpPr/>
          <p:nvPr/>
        </p:nvSpPr>
        <p:spPr>
          <a:xfrm>
            <a:off x="821803" y="1268643"/>
            <a:ext cx="10706582" cy="44564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9567B8-BF74-E099-272F-F7EFCAE0CD78}"/>
              </a:ext>
            </a:extLst>
          </p:cNvPr>
          <p:cNvSpPr txBox="1"/>
          <p:nvPr/>
        </p:nvSpPr>
        <p:spPr>
          <a:xfrm>
            <a:off x="1469985" y="1352365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CATEGOR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9869EE-B597-5438-0F12-5C6FCC5ADE28}"/>
              </a:ext>
            </a:extLst>
          </p:cNvPr>
          <p:cNvSpPr txBox="1"/>
          <p:nvPr/>
        </p:nvSpPr>
        <p:spPr>
          <a:xfrm>
            <a:off x="4790805" y="1329641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CALCUL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6C1E3FD-1EE9-75CF-9C28-B17B2C29F2E7}"/>
              </a:ext>
            </a:extLst>
          </p:cNvPr>
          <p:cNvSpPr txBox="1"/>
          <p:nvPr/>
        </p:nvSpPr>
        <p:spPr>
          <a:xfrm>
            <a:off x="8538381" y="1294241"/>
            <a:ext cx="236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ELABORATIV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301F1EB-1FBC-D9CA-BD27-6DD25827DA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9749" y="211373"/>
            <a:ext cx="601441" cy="56606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FE65AA9-E9CB-250C-281B-D160B8FCF551}"/>
              </a:ext>
            </a:extLst>
          </p:cNvPr>
          <p:cNvSpPr txBox="1"/>
          <p:nvPr/>
        </p:nvSpPr>
        <p:spPr>
          <a:xfrm>
            <a:off x="4147657" y="881080"/>
            <a:ext cx="47108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/>
              <a:t>CALCULATING TARGET ADDRESSABLE MARKE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680F1F2-D009-1013-DF93-3FD45AC9D5EF}"/>
              </a:ext>
            </a:extLst>
          </p:cNvPr>
          <p:cNvSpPr txBox="1"/>
          <p:nvPr/>
        </p:nvSpPr>
        <p:spPr>
          <a:xfrm>
            <a:off x="10293355" y="6452246"/>
            <a:ext cx="1239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rgbClr val="C00000"/>
                </a:solidFill>
              </a:rPr>
              <a:t>Appendix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8D374C-9E4F-AE84-8344-5B6424BD529E}"/>
              </a:ext>
            </a:extLst>
          </p:cNvPr>
          <p:cNvSpPr txBox="1"/>
          <p:nvPr/>
        </p:nvSpPr>
        <p:spPr>
          <a:xfrm>
            <a:off x="397092" y="6441627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Researc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0471A0A-B9F1-A344-7956-F3102E00C19C}"/>
              </a:ext>
            </a:extLst>
          </p:cNvPr>
          <p:cNvSpPr txBox="1"/>
          <p:nvPr/>
        </p:nvSpPr>
        <p:spPr>
          <a:xfrm>
            <a:off x="2067459" y="6441730"/>
            <a:ext cx="2343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 Entry Strateg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53C6C2C-859B-C906-1B05-800FBF6948B6}"/>
              </a:ext>
            </a:extLst>
          </p:cNvPr>
          <p:cNvSpPr txBox="1"/>
          <p:nvPr/>
        </p:nvSpPr>
        <p:spPr>
          <a:xfrm>
            <a:off x="4141781" y="6452763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Customer Value Proposi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538FEEA-B2E1-279E-F870-447CE9AAA442}"/>
              </a:ext>
            </a:extLst>
          </p:cNvPr>
          <p:cNvSpPr txBox="1"/>
          <p:nvPr/>
        </p:nvSpPr>
        <p:spPr>
          <a:xfrm>
            <a:off x="6623801" y="6460634"/>
            <a:ext cx="2778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Marketing &amp; Promo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9D2F548-D804-62D3-815F-20098BD78794}"/>
              </a:ext>
            </a:extLst>
          </p:cNvPr>
          <p:cNvSpPr txBox="1"/>
          <p:nvPr/>
        </p:nvSpPr>
        <p:spPr>
          <a:xfrm>
            <a:off x="8689690" y="6466466"/>
            <a:ext cx="1296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Size &amp; Timelin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4456D7C-3141-B86B-1AF8-9BD306A67875}"/>
              </a:ext>
            </a:extLst>
          </p:cNvPr>
          <p:cNvCxnSpPr/>
          <p:nvPr/>
        </p:nvCxnSpPr>
        <p:spPr>
          <a:xfrm>
            <a:off x="16436" y="30410"/>
            <a:ext cx="0" cy="688115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41326B7-DE97-25B8-4611-931A9C9FA717}"/>
              </a:ext>
            </a:extLst>
          </p:cNvPr>
          <p:cNvCxnSpPr>
            <a:cxnSpLocks/>
          </p:cNvCxnSpPr>
          <p:nvPr/>
        </p:nvCxnSpPr>
        <p:spPr>
          <a:xfrm>
            <a:off x="12171651" y="0"/>
            <a:ext cx="0" cy="6932826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1950DA9-3D26-CFD5-9DFF-C55257C84C82}"/>
              </a:ext>
            </a:extLst>
          </p:cNvPr>
          <p:cNvCxnSpPr>
            <a:cxnSpLocks/>
          </p:cNvCxnSpPr>
          <p:nvPr/>
        </p:nvCxnSpPr>
        <p:spPr>
          <a:xfrm flipH="1">
            <a:off x="11109" y="6841021"/>
            <a:ext cx="1216054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23019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90000"/>
          </a:schemeClr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7</TotalTime>
  <Words>1919</Words>
  <Application>Microsoft Office PowerPoint</Application>
  <PresentationFormat>Widescreen</PresentationFormat>
  <Paragraphs>402</Paragraphs>
  <Slides>14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gency FB</vt:lpstr>
      <vt:lpstr>Arial</vt:lpstr>
      <vt:lpstr>Bahnschrift Condensed</vt:lpstr>
      <vt:lpstr>Calibri</vt:lpstr>
      <vt:lpstr>Calibri Light</vt:lpstr>
      <vt:lpstr>Carlito</vt:lpstr>
      <vt:lpstr>Google Sans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iti Bhardwaj</dc:creator>
  <cp:lastModifiedBy>vidit garg</cp:lastModifiedBy>
  <cp:revision>4</cp:revision>
  <dcterms:created xsi:type="dcterms:W3CDTF">2024-11-10T00:14:40Z</dcterms:created>
  <dcterms:modified xsi:type="dcterms:W3CDTF">2024-12-07T12:52:52Z</dcterms:modified>
</cp:coreProperties>
</file>